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notesSlides/notesSlide19.xml" ContentType="application/vnd.openxmlformats-officedocument.presentationml.notesSlide+xml"/>
  <Override PartName="/ppt/tags/tag26.xml" ContentType="application/vnd.openxmlformats-officedocument.presentationml.tags+xml"/>
  <Override PartName="/ppt/notesSlides/notesSlide20.xml" ContentType="application/vnd.openxmlformats-officedocument.presentationml.notesSlide+xml"/>
  <Override PartName="/ppt/tags/tag27.xml" ContentType="application/vnd.openxmlformats-officedocument.presentationml.tags+xml"/>
  <Override PartName="/ppt/notesSlides/notesSlide21.xml" ContentType="application/vnd.openxmlformats-officedocument.presentationml.notesSlide+xml"/>
  <Override PartName="/ppt/tags/tag28.xml" ContentType="application/vnd.openxmlformats-officedocument.presentationml.tags+xml"/>
  <Override PartName="/ppt/notesSlides/notesSlide22.xml" ContentType="application/vnd.openxmlformats-officedocument.presentationml.notesSlide+xml"/>
  <Override PartName="/ppt/tags/tag29.xml" ContentType="application/vnd.openxmlformats-officedocument.presentationml.tags+xml"/>
  <Override PartName="/ppt/notesSlides/notesSlide23.xml" ContentType="application/vnd.openxmlformats-officedocument.presentationml.notesSlide+xml"/>
  <Override PartName="/ppt/tags/tag30.xml" ContentType="application/vnd.openxmlformats-officedocument.presentationml.tags+xml"/>
  <Override PartName="/ppt/notesSlides/notesSlide24.xml" ContentType="application/vnd.openxmlformats-officedocument.presentationml.notesSlide+xml"/>
  <Override PartName="/ppt/tags/tag31.xml" ContentType="application/vnd.openxmlformats-officedocument.presentationml.tags+xml"/>
  <Override PartName="/ppt/notesSlides/notesSlide25.xml" ContentType="application/vnd.openxmlformats-officedocument.presentationml.notesSlide+xml"/>
  <Override PartName="/ppt/tags/tag32.xml" ContentType="application/vnd.openxmlformats-officedocument.presentationml.tags+xml"/>
  <Override PartName="/ppt/notesSlides/notesSlide26.xml" ContentType="application/vnd.openxmlformats-officedocument.presentationml.notesSlide+xml"/>
  <Override PartName="/ppt/tags/tag33.xml" ContentType="application/vnd.openxmlformats-officedocument.presentationml.tags+xml"/>
  <Override PartName="/ppt/notesSlides/notesSlide27.xml" ContentType="application/vnd.openxmlformats-officedocument.presentationml.notesSlide+xml"/>
  <Override PartName="/ppt/tags/tag34.xml" ContentType="application/vnd.openxmlformats-officedocument.presentationml.tags+xml"/>
  <Override PartName="/ppt/notesSlides/notesSlide28.xml" ContentType="application/vnd.openxmlformats-officedocument.presentationml.notesSlide+xml"/>
  <Override PartName="/ppt/tags/tag35.xml" ContentType="application/vnd.openxmlformats-officedocument.presentationml.tags+xml"/>
  <Override PartName="/ppt/notesSlides/notesSlide29.xml" ContentType="application/vnd.openxmlformats-officedocument.presentationml.notesSlide+xml"/>
  <Override PartName="/ppt/tags/tag36.xml" ContentType="application/vnd.openxmlformats-officedocument.presentationml.tags+xml"/>
  <Override PartName="/ppt/notesSlides/notesSlide30.xml" ContentType="application/vnd.openxmlformats-officedocument.presentationml.notesSlide+xml"/>
  <Override PartName="/ppt/tags/tag37.xml" ContentType="application/vnd.openxmlformats-officedocument.presentationml.tags+xml"/>
  <Override PartName="/ppt/notesSlides/notesSlide31.xml" ContentType="application/vnd.openxmlformats-officedocument.presentationml.notesSlide+xml"/>
  <Override PartName="/ppt/tags/tag38.xml" ContentType="application/vnd.openxmlformats-officedocument.presentationml.tags+xml"/>
  <Override PartName="/ppt/notesSlides/notesSlide32.xml" ContentType="application/vnd.openxmlformats-officedocument.presentationml.notesSlide+xml"/>
  <Override PartName="/ppt/tags/tag39.xml" ContentType="application/vnd.openxmlformats-officedocument.presentationml.tags+xml"/>
  <Override PartName="/ppt/notesSlides/notesSlide33.xml" ContentType="application/vnd.openxmlformats-officedocument.presentationml.notesSlide+xml"/>
  <Override PartName="/ppt/tags/tag40.xml" ContentType="application/vnd.openxmlformats-officedocument.presentationml.tags+xml"/>
  <Override PartName="/ppt/notesSlides/notesSlide34.xml" ContentType="application/vnd.openxmlformats-officedocument.presentationml.notesSlide+xml"/>
  <Override PartName="/ppt/tags/tag41.xml" ContentType="application/vnd.openxmlformats-officedocument.presentationml.tags+xml"/>
  <Override PartName="/ppt/notesSlides/notesSlide35.xml" ContentType="application/vnd.openxmlformats-officedocument.presentationml.notesSlide+xml"/>
  <Override PartName="/ppt/tags/tag42.xml" ContentType="application/vnd.openxmlformats-officedocument.presentationml.tags+xml"/>
  <Override PartName="/ppt/notesSlides/notesSlide36.xml" ContentType="application/vnd.openxmlformats-officedocument.presentationml.notesSlide+xml"/>
  <Override PartName="/ppt/tags/tag43.xml" ContentType="application/vnd.openxmlformats-officedocument.presentationml.tags+xml"/>
  <Override PartName="/ppt/notesSlides/notesSlide37.xml" ContentType="application/vnd.openxmlformats-officedocument.presentationml.notesSlide+xml"/>
  <Override PartName="/ppt/tags/tag44.xml" ContentType="application/vnd.openxmlformats-officedocument.presentationml.tags+xml"/>
  <Override PartName="/ppt/notesSlides/notesSlide38.xml" ContentType="application/vnd.openxmlformats-officedocument.presentationml.notesSlide+xml"/>
  <Override PartName="/ppt/tags/tag45.xml" ContentType="application/vnd.openxmlformats-officedocument.presentationml.tags+xml"/>
  <Override PartName="/ppt/notesSlides/notesSlide3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56"/>
  </p:notesMasterIdLst>
  <p:sldIdLst>
    <p:sldId id="2147470567" r:id="rId6"/>
    <p:sldId id="2147470568" r:id="rId7"/>
    <p:sldId id="2147470569" r:id="rId8"/>
    <p:sldId id="2147470587" r:id="rId9"/>
    <p:sldId id="2147470577" r:id="rId10"/>
    <p:sldId id="2147470573" r:id="rId11"/>
    <p:sldId id="2147470576" r:id="rId12"/>
    <p:sldId id="2147470578" r:id="rId13"/>
    <p:sldId id="2147470580" r:id="rId14"/>
    <p:sldId id="4597" r:id="rId15"/>
    <p:sldId id="2147470496" r:id="rId16"/>
    <p:sldId id="2147470533" r:id="rId17"/>
    <p:sldId id="2147470534" r:id="rId18"/>
    <p:sldId id="2147470502" r:id="rId19"/>
    <p:sldId id="2147470545" r:id="rId20"/>
    <p:sldId id="2147470525" r:id="rId21"/>
    <p:sldId id="2147470504" r:id="rId22"/>
    <p:sldId id="2147470546" r:id="rId23"/>
    <p:sldId id="2147470505" r:id="rId24"/>
    <p:sldId id="2147470521" r:id="rId25"/>
    <p:sldId id="2147470537" r:id="rId26"/>
    <p:sldId id="2147470547" r:id="rId27"/>
    <p:sldId id="2147470549" r:id="rId28"/>
    <p:sldId id="2147470507" r:id="rId29"/>
    <p:sldId id="2147470541" r:id="rId30"/>
    <p:sldId id="2147470543" r:id="rId31"/>
    <p:sldId id="2147470512" r:id="rId32"/>
    <p:sldId id="2147470550" r:id="rId33"/>
    <p:sldId id="2147470539" r:id="rId34"/>
    <p:sldId id="2147470511" r:id="rId35"/>
    <p:sldId id="2147470551" r:id="rId36"/>
    <p:sldId id="2147470528" r:id="rId37"/>
    <p:sldId id="2147470552" r:id="rId38"/>
    <p:sldId id="2147470523" r:id="rId39"/>
    <p:sldId id="2147470553" r:id="rId40"/>
    <p:sldId id="2147470529" r:id="rId41"/>
    <p:sldId id="2147470554" r:id="rId42"/>
    <p:sldId id="2147470556" r:id="rId43"/>
    <p:sldId id="2147470557" r:id="rId44"/>
    <p:sldId id="2147470558" r:id="rId45"/>
    <p:sldId id="2147470559" r:id="rId46"/>
    <p:sldId id="2147470560" r:id="rId47"/>
    <p:sldId id="2147470562" r:id="rId48"/>
    <p:sldId id="2147470563" r:id="rId49"/>
    <p:sldId id="2147470564" r:id="rId50"/>
    <p:sldId id="2147470566" r:id="rId51"/>
    <p:sldId id="2147470565" r:id="rId52"/>
    <p:sldId id="2147470581" r:id="rId53"/>
    <p:sldId id="2147470582" r:id="rId54"/>
    <p:sldId id="2147470586" r:id="rId5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DC457"/>
    <a:srgbClr val="4632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3137EA-1BC4-4DB5-B1CD-D60ADCD5C1AE}" v="54" dt="2026-03-19T22:05:40.9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microsoft.com/office/2016/11/relationships/changesInfo" Target="changesInfos/changesInfo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presProps" Target="pres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tavares@haoc.com.br" userId="S::urn:spo:guest#brtavares@haoc.com.br::" providerId="AD" clId="Web-{187E3A0B-A073-1537-32FF-A5E578DC4B3F}"/>
    <pc:docChg chg="modSld">
      <pc:chgData name="brtavares@haoc.com.br" userId="S::urn:spo:guest#brtavares@haoc.com.br::" providerId="AD" clId="Web-{187E3A0B-A073-1537-32FF-A5E578DC4B3F}" dt="2026-02-19T15:54:14.025" v="60" actId="20577"/>
      <pc:docMkLst>
        <pc:docMk/>
      </pc:docMkLst>
      <pc:sldChg chg="modSp">
        <pc:chgData name="brtavares@haoc.com.br" userId="S::urn:spo:guest#brtavares@haoc.com.br::" providerId="AD" clId="Web-{187E3A0B-A073-1537-32FF-A5E578DC4B3F}" dt="2026-02-19T14:46:01.456" v="26" actId="1076"/>
        <pc:sldMkLst>
          <pc:docMk/>
          <pc:sldMk cId="2450670423" sldId="2147470505"/>
        </pc:sldMkLst>
        <pc:spChg chg="mod">
          <ac:chgData name="brtavares@haoc.com.br" userId="S::urn:spo:guest#brtavares@haoc.com.br::" providerId="AD" clId="Web-{187E3A0B-A073-1537-32FF-A5E578DC4B3F}" dt="2026-02-19T14:46:01.456" v="26" actId="1076"/>
          <ac:spMkLst>
            <pc:docMk/>
            <pc:sldMk cId="2450670423" sldId="2147470505"/>
            <ac:spMk id="6" creationId="{B8A477DA-EA6B-88C7-5722-5F1F1313F132}"/>
          </ac:spMkLst>
        </pc:spChg>
      </pc:sldChg>
      <pc:sldChg chg="modSp">
        <pc:chgData name="brtavares@haoc.com.br" userId="S::urn:spo:guest#brtavares@haoc.com.br::" providerId="AD" clId="Web-{187E3A0B-A073-1537-32FF-A5E578DC4B3F}" dt="2026-02-19T14:46:53.550" v="28" actId="20577"/>
        <pc:sldMkLst>
          <pc:docMk/>
          <pc:sldMk cId="393493414" sldId="2147470534"/>
        </pc:sldMkLst>
        <pc:spChg chg="mod">
          <ac:chgData name="brtavares@haoc.com.br" userId="S::urn:spo:guest#brtavares@haoc.com.br::" providerId="AD" clId="Web-{187E3A0B-A073-1537-32FF-A5E578DC4B3F}" dt="2026-02-19T14:46:53.550" v="28" actId="20577"/>
          <ac:spMkLst>
            <pc:docMk/>
            <pc:sldMk cId="393493414" sldId="2147470534"/>
            <ac:spMk id="3" creationId="{2FC4162C-5BEB-6378-4C02-B9550632F851}"/>
          </ac:spMkLst>
        </pc:spChg>
      </pc:sldChg>
      <pc:sldChg chg="modSp">
        <pc:chgData name="brtavares@haoc.com.br" userId="S::urn:spo:guest#brtavares@haoc.com.br::" providerId="AD" clId="Web-{187E3A0B-A073-1537-32FF-A5E578DC4B3F}" dt="2026-02-19T14:48:41.755" v="29" actId="20577"/>
        <pc:sldMkLst>
          <pc:docMk/>
          <pc:sldMk cId="2301379314" sldId="2147470537"/>
        </pc:sldMkLst>
        <pc:spChg chg="mod">
          <ac:chgData name="brtavares@haoc.com.br" userId="S::urn:spo:guest#brtavares@haoc.com.br::" providerId="AD" clId="Web-{187E3A0B-A073-1537-32FF-A5E578DC4B3F}" dt="2026-02-19T14:48:41.755" v="29" actId="20577"/>
          <ac:spMkLst>
            <pc:docMk/>
            <pc:sldMk cId="2301379314" sldId="2147470537"/>
            <ac:spMk id="8" creationId="{328C73AE-775B-675F-667A-DBF59C178BE8}"/>
          </ac:spMkLst>
        </pc:spChg>
      </pc:sldChg>
      <pc:sldChg chg="modSp">
        <pc:chgData name="brtavares@haoc.com.br" userId="S::urn:spo:guest#brtavares@haoc.com.br::" providerId="AD" clId="Web-{187E3A0B-A073-1537-32FF-A5E578DC4B3F}" dt="2026-02-19T15:54:14.025" v="60" actId="20577"/>
        <pc:sldMkLst>
          <pc:docMk/>
          <pc:sldMk cId="3527457295" sldId="2147470539"/>
        </pc:sldMkLst>
        <pc:spChg chg="mod">
          <ac:chgData name="brtavares@haoc.com.br" userId="S::urn:spo:guest#brtavares@haoc.com.br::" providerId="AD" clId="Web-{187E3A0B-A073-1537-32FF-A5E578DC4B3F}" dt="2026-02-19T15:54:14.025" v="60" actId="20577"/>
          <ac:spMkLst>
            <pc:docMk/>
            <pc:sldMk cId="3527457295" sldId="2147470539"/>
            <ac:spMk id="7" creationId="{F8A27907-9E44-AB82-7DC9-D8EAE5E4A832}"/>
          </ac:spMkLst>
        </pc:spChg>
      </pc:sldChg>
      <pc:sldChg chg="modSp">
        <pc:chgData name="brtavares@haoc.com.br" userId="S::urn:spo:guest#brtavares@haoc.com.br::" providerId="AD" clId="Web-{187E3A0B-A073-1537-32FF-A5E578DC4B3F}" dt="2026-02-19T14:49:21.256" v="53" actId="1076"/>
        <pc:sldMkLst>
          <pc:docMk/>
          <pc:sldMk cId="1223648992" sldId="2147470547"/>
        </pc:sldMkLst>
        <pc:spChg chg="mod">
          <ac:chgData name="brtavares@haoc.com.br" userId="S::urn:spo:guest#brtavares@haoc.com.br::" providerId="AD" clId="Web-{187E3A0B-A073-1537-32FF-A5E578DC4B3F}" dt="2026-02-19T14:49:21.256" v="53" actId="1076"/>
          <ac:spMkLst>
            <pc:docMk/>
            <pc:sldMk cId="1223648992" sldId="2147470547"/>
            <ac:spMk id="64" creationId="{28627675-6FC5-86C5-4858-8E66AE74565A}"/>
          </ac:spMkLst>
        </pc:spChg>
      </pc:sldChg>
      <pc:sldChg chg="modSp">
        <pc:chgData name="brtavares@haoc.com.br" userId="S::urn:spo:guest#brtavares@haoc.com.br::" providerId="AD" clId="Web-{187E3A0B-A073-1537-32FF-A5E578DC4B3F}" dt="2026-02-19T12:52:28.069" v="15" actId="20577"/>
        <pc:sldMkLst>
          <pc:docMk/>
          <pc:sldMk cId="100289521" sldId="2147470581"/>
        </pc:sldMkLst>
        <pc:spChg chg="mod">
          <ac:chgData name="brtavares@haoc.com.br" userId="S::urn:spo:guest#brtavares@haoc.com.br::" providerId="AD" clId="Web-{187E3A0B-A073-1537-32FF-A5E578DC4B3F}" dt="2026-02-19T12:52:28.069" v="15" actId="20577"/>
          <ac:spMkLst>
            <pc:docMk/>
            <pc:sldMk cId="100289521" sldId="2147470581"/>
            <ac:spMk id="95" creationId="{2DAE2DBF-BB8B-0F84-680B-C9E7DFC2C54E}"/>
          </ac:spMkLst>
        </pc:spChg>
      </pc:sldChg>
    </pc:docChg>
  </pc:docChgLst>
  <pc:docChgLst>
    <pc:chgData name="brtavares@haoc.com.br" userId="S::urn:spo:guest#brtavares@haoc.com.br::" providerId="AD" clId="Web-{18B42FCB-4337-043C-89DB-7ED34FE6E323}"/>
    <pc:docChg chg="modSld">
      <pc:chgData name="brtavares@haoc.com.br" userId="S::urn:spo:guest#brtavares@haoc.com.br::" providerId="AD" clId="Web-{18B42FCB-4337-043C-89DB-7ED34FE6E323}" dt="2026-03-12T20:36:26.667" v="170" actId="20577"/>
      <pc:docMkLst>
        <pc:docMk/>
      </pc:docMkLst>
      <pc:sldChg chg="delAnim">
        <pc:chgData name="brtavares@haoc.com.br" userId="S::urn:spo:guest#brtavares@haoc.com.br::" providerId="AD" clId="Web-{18B42FCB-4337-043C-89DB-7ED34FE6E323}" dt="2026-03-12T18:34:51.136" v="8"/>
        <pc:sldMkLst>
          <pc:docMk/>
          <pc:sldMk cId="690823175" sldId="2147470504"/>
        </pc:sldMkLst>
      </pc:sldChg>
      <pc:sldChg chg="modSp">
        <pc:chgData name="brtavares@haoc.com.br" userId="S::urn:spo:guest#brtavares@haoc.com.br::" providerId="AD" clId="Web-{18B42FCB-4337-043C-89DB-7ED34FE6E323}" dt="2026-03-12T18:38:25.467" v="9" actId="14100"/>
        <pc:sldMkLst>
          <pc:docMk/>
          <pc:sldMk cId="2450670423" sldId="2147470505"/>
        </pc:sldMkLst>
        <pc:spChg chg="mod">
          <ac:chgData name="brtavares@haoc.com.br" userId="S::urn:spo:guest#brtavares@haoc.com.br::" providerId="AD" clId="Web-{18B42FCB-4337-043C-89DB-7ED34FE6E323}" dt="2026-03-12T18:38:25.467" v="9" actId="14100"/>
          <ac:spMkLst>
            <pc:docMk/>
            <pc:sldMk cId="2450670423" sldId="2147470505"/>
            <ac:spMk id="6" creationId="{B8A477DA-EA6B-88C7-5722-5F1F1313F132}"/>
          </ac:spMkLst>
        </pc:spChg>
      </pc:sldChg>
      <pc:sldChg chg="modSp">
        <pc:chgData name="brtavares@haoc.com.br" userId="S::urn:spo:guest#brtavares@haoc.com.br::" providerId="AD" clId="Web-{18B42FCB-4337-043C-89DB-7ED34FE6E323}" dt="2026-03-12T19:08:27.258" v="35" actId="14100"/>
        <pc:sldMkLst>
          <pc:docMk/>
          <pc:sldMk cId="121683268" sldId="2147470507"/>
        </pc:sldMkLst>
        <pc:spChg chg="mod">
          <ac:chgData name="brtavares@haoc.com.br" userId="S::urn:spo:guest#brtavares@haoc.com.br::" providerId="AD" clId="Web-{18B42FCB-4337-043C-89DB-7ED34FE6E323}" dt="2026-03-12T19:08:27.258" v="35" actId="14100"/>
          <ac:spMkLst>
            <pc:docMk/>
            <pc:sldMk cId="121683268" sldId="2147470507"/>
            <ac:spMk id="7" creationId="{9408F1D1-411B-9547-3D18-F4937BF9BA82}"/>
          </ac:spMkLst>
        </pc:spChg>
      </pc:sldChg>
      <pc:sldChg chg="modSp">
        <pc:chgData name="brtavares@haoc.com.br" userId="S::urn:spo:guest#brtavares@haoc.com.br::" providerId="AD" clId="Web-{18B42FCB-4337-043C-89DB-7ED34FE6E323}" dt="2026-03-12T19:31:56.009" v="71" actId="20577"/>
        <pc:sldMkLst>
          <pc:docMk/>
          <pc:sldMk cId="3433120575" sldId="2147470511"/>
        </pc:sldMkLst>
        <pc:spChg chg="mod">
          <ac:chgData name="brtavares@haoc.com.br" userId="S::urn:spo:guest#brtavares@haoc.com.br::" providerId="AD" clId="Web-{18B42FCB-4337-043C-89DB-7ED34FE6E323}" dt="2026-03-12T19:31:56.009" v="71" actId="20577"/>
          <ac:spMkLst>
            <pc:docMk/>
            <pc:sldMk cId="3433120575" sldId="2147470511"/>
            <ac:spMk id="6" creationId="{AA63E110-E38A-ACDE-55B2-FF13C33390AB}"/>
          </ac:spMkLst>
        </pc:spChg>
      </pc:sldChg>
      <pc:sldChg chg="modSp">
        <pc:chgData name="brtavares@haoc.com.br" userId="S::urn:spo:guest#brtavares@haoc.com.br::" providerId="AD" clId="Web-{18B42FCB-4337-043C-89DB-7ED34FE6E323}" dt="2026-03-12T19:15:43.038" v="45" actId="20577"/>
        <pc:sldMkLst>
          <pc:docMk/>
          <pc:sldMk cId="793743555" sldId="2147470512"/>
        </pc:sldMkLst>
        <pc:spChg chg="mod">
          <ac:chgData name="brtavares@haoc.com.br" userId="S::urn:spo:guest#brtavares@haoc.com.br::" providerId="AD" clId="Web-{18B42FCB-4337-043C-89DB-7ED34FE6E323}" dt="2026-03-12T19:15:43.038" v="45" actId="20577"/>
          <ac:spMkLst>
            <pc:docMk/>
            <pc:sldMk cId="793743555" sldId="2147470512"/>
            <ac:spMk id="6" creationId="{92CB108C-CECC-F2A4-573E-3CF0C161545F}"/>
          </ac:spMkLst>
        </pc:spChg>
      </pc:sldChg>
      <pc:sldChg chg="delSp modSp">
        <pc:chgData name="brtavares@haoc.com.br" userId="S::urn:spo:guest#brtavares@haoc.com.br::" providerId="AD" clId="Web-{18B42FCB-4337-043C-89DB-7ED34FE6E323}" dt="2026-03-12T19:20:47.304" v="58" actId="1076"/>
        <pc:sldMkLst>
          <pc:docMk/>
          <pc:sldMk cId="1340699539" sldId="2147470521"/>
        </pc:sldMkLst>
        <pc:spChg chg="mod">
          <ac:chgData name="brtavares@haoc.com.br" userId="S::urn:spo:guest#brtavares@haoc.com.br::" providerId="AD" clId="Web-{18B42FCB-4337-043C-89DB-7ED34FE6E323}" dt="2026-03-12T18:40:28.316" v="28" actId="20577"/>
          <ac:spMkLst>
            <pc:docMk/>
            <pc:sldMk cId="1340699539" sldId="2147470521"/>
            <ac:spMk id="6" creationId="{6389B1C3-2627-6C52-823F-BB169EAC9CE6}"/>
          </ac:spMkLst>
        </pc:spChg>
        <pc:spChg chg="mod">
          <ac:chgData name="brtavares@haoc.com.br" userId="S::urn:spo:guest#brtavares@haoc.com.br::" providerId="AD" clId="Web-{18B42FCB-4337-043C-89DB-7ED34FE6E323}" dt="2026-03-12T19:20:47.304" v="58" actId="1076"/>
          <ac:spMkLst>
            <pc:docMk/>
            <pc:sldMk cId="1340699539" sldId="2147470521"/>
            <ac:spMk id="7" creationId="{266453C1-AC36-8993-2A07-5E28DD36FE7E}"/>
          </ac:spMkLst>
        </pc:spChg>
        <pc:spChg chg="mod">
          <ac:chgData name="brtavares@haoc.com.br" userId="S::urn:spo:guest#brtavares@haoc.com.br::" providerId="AD" clId="Web-{18B42FCB-4337-043C-89DB-7ED34FE6E323}" dt="2026-03-12T18:39:56.719" v="25" actId="14100"/>
          <ac:spMkLst>
            <pc:docMk/>
            <pc:sldMk cId="1340699539" sldId="2147470521"/>
            <ac:spMk id="8" creationId="{328C73AE-775B-675F-667A-DBF59C178BE8}"/>
          </ac:spMkLst>
        </pc:spChg>
        <pc:picChg chg="mod">
          <ac:chgData name="brtavares@haoc.com.br" userId="S::urn:spo:guest#brtavares@haoc.com.br::" providerId="AD" clId="Web-{18B42FCB-4337-043C-89DB-7ED34FE6E323}" dt="2026-03-12T19:20:15.147" v="52" actId="1076"/>
          <ac:picMkLst>
            <pc:docMk/>
            <pc:sldMk cId="1340699539" sldId="2147470521"/>
            <ac:picMk id="2" creationId="{200D1FFE-842F-C2A5-CCEB-ED15A677B711}"/>
          </ac:picMkLst>
        </pc:picChg>
      </pc:sldChg>
      <pc:sldChg chg="delAnim">
        <pc:chgData name="brtavares@haoc.com.br" userId="S::urn:spo:guest#brtavares@haoc.com.br::" providerId="AD" clId="Web-{18B42FCB-4337-043C-89DB-7ED34FE6E323}" dt="2026-03-12T18:30:17.818" v="6"/>
        <pc:sldMkLst>
          <pc:docMk/>
          <pc:sldMk cId="845825576" sldId="2147470525"/>
        </pc:sldMkLst>
      </pc:sldChg>
      <pc:sldChg chg="delSp delAnim">
        <pc:chgData name="brtavares@haoc.com.br" userId="S::urn:spo:guest#brtavares@haoc.com.br::" providerId="AD" clId="Web-{18B42FCB-4337-043C-89DB-7ED34FE6E323}" dt="2026-03-12T18:46:24.322" v="29"/>
        <pc:sldMkLst>
          <pc:docMk/>
          <pc:sldMk cId="2301379314" sldId="2147470537"/>
        </pc:sldMkLst>
      </pc:sldChg>
      <pc:sldChg chg="modSp delAnim">
        <pc:chgData name="brtavares@haoc.com.br" userId="S::urn:spo:guest#brtavares@haoc.com.br::" providerId="AD" clId="Web-{18B42FCB-4337-043C-89DB-7ED34FE6E323}" dt="2026-03-12T19:14:28.047" v="40" actId="20577"/>
        <pc:sldMkLst>
          <pc:docMk/>
          <pc:sldMk cId="3527457295" sldId="2147470539"/>
        </pc:sldMkLst>
        <pc:spChg chg="mod">
          <ac:chgData name="brtavares@haoc.com.br" userId="S::urn:spo:guest#brtavares@haoc.com.br::" providerId="AD" clId="Web-{18B42FCB-4337-043C-89DB-7ED34FE6E323}" dt="2026-03-12T19:14:28.047" v="40" actId="20577"/>
          <ac:spMkLst>
            <pc:docMk/>
            <pc:sldMk cId="3527457295" sldId="2147470539"/>
            <ac:spMk id="7" creationId="{F8A27907-9E44-AB82-7DC9-D8EAE5E4A832}"/>
          </ac:spMkLst>
        </pc:spChg>
      </pc:sldChg>
      <pc:sldChg chg="addSp delSp modSp">
        <pc:chgData name="brtavares@haoc.com.br" userId="S::urn:spo:guest#brtavares@haoc.com.br::" providerId="AD" clId="Web-{18B42FCB-4337-043C-89DB-7ED34FE6E323}" dt="2026-03-12T19:21:11.055" v="66"/>
        <pc:sldMkLst>
          <pc:docMk/>
          <pc:sldMk cId="899862340" sldId="2147470552"/>
        </pc:sldMkLst>
        <pc:spChg chg="add">
          <ac:chgData name="brtavares@haoc.com.br" userId="S::urn:spo:guest#brtavares@haoc.com.br::" providerId="AD" clId="Web-{18B42FCB-4337-043C-89DB-7ED34FE6E323}" dt="2026-03-12T19:21:10.961" v="63"/>
          <ac:spMkLst>
            <pc:docMk/>
            <pc:sldMk cId="899862340" sldId="2147470552"/>
            <ac:spMk id="10" creationId="{A6BED10F-C262-DB8C-36BC-1A5150BFBD61}"/>
          </ac:spMkLst>
        </pc:spChg>
        <pc:spChg chg="add">
          <ac:chgData name="brtavares@haoc.com.br" userId="S::urn:spo:guest#brtavares@haoc.com.br::" providerId="AD" clId="Web-{18B42FCB-4337-043C-89DB-7ED34FE6E323}" dt="2026-03-12T19:21:10.977" v="64"/>
          <ac:spMkLst>
            <pc:docMk/>
            <pc:sldMk cId="899862340" sldId="2147470552"/>
            <ac:spMk id="15" creationId="{00895F46-CFED-5138-181F-8A4C98AF63C8}"/>
          </ac:spMkLst>
        </pc:spChg>
        <pc:spChg chg="add">
          <ac:chgData name="brtavares@haoc.com.br" userId="S::urn:spo:guest#brtavares@haoc.com.br::" providerId="AD" clId="Web-{18B42FCB-4337-043C-89DB-7ED34FE6E323}" dt="2026-03-12T19:21:11.055" v="66"/>
          <ac:spMkLst>
            <pc:docMk/>
            <pc:sldMk cId="899862340" sldId="2147470552"/>
            <ac:spMk id="61" creationId="{A180B0EC-7DB7-8AAD-1C7A-78F68D0AF115}"/>
          </ac:spMkLst>
        </pc:spChg>
        <pc:picChg chg="add">
          <ac:chgData name="brtavares@haoc.com.br" userId="S::urn:spo:guest#brtavares@haoc.com.br::" providerId="AD" clId="Web-{18B42FCB-4337-043C-89DB-7ED34FE6E323}" dt="2026-03-12T19:21:11.039" v="65"/>
          <ac:picMkLst>
            <pc:docMk/>
            <pc:sldMk cId="899862340" sldId="2147470552"/>
            <ac:picMk id="59" creationId="{C75A952B-DDC7-9E3F-03ED-DF9C674AC2E2}"/>
          </ac:picMkLst>
        </pc:picChg>
      </pc:sldChg>
      <pc:sldChg chg="modSp">
        <pc:chgData name="brtavares@haoc.com.br" userId="S::urn:spo:guest#brtavares@haoc.com.br::" providerId="AD" clId="Web-{18B42FCB-4337-043C-89DB-7ED34FE6E323}" dt="2026-03-12T19:41:27.222" v="73" actId="20577"/>
        <pc:sldMkLst>
          <pc:docMk/>
          <pc:sldMk cId="110716045" sldId="2147470560"/>
        </pc:sldMkLst>
        <pc:spChg chg="mod">
          <ac:chgData name="brtavares@haoc.com.br" userId="S::urn:spo:guest#brtavares@haoc.com.br::" providerId="AD" clId="Web-{18B42FCB-4337-043C-89DB-7ED34FE6E323}" dt="2026-03-12T19:41:27.222" v="73" actId="20577"/>
          <ac:spMkLst>
            <pc:docMk/>
            <pc:sldMk cId="110716045" sldId="2147470560"/>
            <ac:spMk id="3" creationId="{63985EC0-BC8D-F30F-5650-7DF499C3B21F}"/>
          </ac:spMkLst>
        </pc:spChg>
      </pc:sldChg>
      <pc:sldChg chg="modSp">
        <pc:chgData name="brtavares@haoc.com.br" userId="S::urn:spo:guest#brtavares@haoc.com.br::" providerId="AD" clId="Web-{18B42FCB-4337-043C-89DB-7ED34FE6E323}" dt="2026-03-12T19:44:42.882" v="77" actId="14100"/>
        <pc:sldMkLst>
          <pc:docMk/>
          <pc:sldMk cId="1094828057" sldId="2147470563"/>
        </pc:sldMkLst>
        <pc:spChg chg="mod">
          <ac:chgData name="brtavares@haoc.com.br" userId="S::urn:spo:guest#brtavares@haoc.com.br::" providerId="AD" clId="Web-{18B42FCB-4337-043C-89DB-7ED34FE6E323}" dt="2026-03-12T19:44:42.882" v="77" actId="14100"/>
          <ac:spMkLst>
            <pc:docMk/>
            <pc:sldMk cId="1094828057" sldId="2147470563"/>
            <ac:spMk id="6" creationId="{033D2C03-F33D-5127-E37B-2585A9352A0C}"/>
          </ac:spMkLst>
        </pc:spChg>
      </pc:sldChg>
      <pc:sldChg chg="addSp delSp modSp">
        <pc:chgData name="brtavares@haoc.com.br" userId="S::urn:spo:guest#brtavares@haoc.com.br::" providerId="AD" clId="Web-{18B42FCB-4337-043C-89DB-7ED34FE6E323}" dt="2026-03-12T20:00:35.825" v="95"/>
        <pc:sldMkLst>
          <pc:docMk/>
          <pc:sldMk cId="3681065302" sldId="2147470564"/>
        </pc:sldMkLst>
        <pc:spChg chg="add">
          <ac:chgData name="brtavares@haoc.com.br" userId="S::urn:spo:guest#brtavares@haoc.com.br::" providerId="AD" clId="Web-{18B42FCB-4337-043C-89DB-7ED34FE6E323}" dt="2026-03-12T20:00:35.747" v="92"/>
          <ac:spMkLst>
            <pc:docMk/>
            <pc:sldMk cId="3681065302" sldId="2147470564"/>
            <ac:spMk id="61" creationId="{21A7FEA0-BC68-9125-72F6-652FA1B54954}"/>
          </ac:spMkLst>
        </pc:spChg>
        <pc:spChg chg="add">
          <ac:chgData name="brtavares@haoc.com.br" userId="S::urn:spo:guest#brtavares@haoc.com.br::" providerId="AD" clId="Web-{18B42FCB-4337-043C-89DB-7ED34FE6E323}" dt="2026-03-12T20:00:35.747" v="93"/>
          <ac:spMkLst>
            <pc:docMk/>
            <pc:sldMk cId="3681065302" sldId="2147470564"/>
            <ac:spMk id="63" creationId="{C2AD3641-2153-0123-7820-690B8F8225AC}"/>
          </ac:spMkLst>
        </pc:spChg>
        <pc:spChg chg="add">
          <ac:chgData name="brtavares@haoc.com.br" userId="S::urn:spo:guest#brtavares@haoc.com.br::" providerId="AD" clId="Web-{18B42FCB-4337-043C-89DB-7ED34FE6E323}" dt="2026-03-12T20:00:35.825" v="95"/>
          <ac:spMkLst>
            <pc:docMk/>
            <pc:sldMk cId="3681065302" sldId="2147470564"/>
            <ac:spMk id="67" creationId="{6D1D06DE-F0C3-F933-E7B9-DE3E3B94DFF6}"/>
          </ac:spMkLst>
        </pc:spChg>
        <pc:picChg chg="add">
          <ac:chgData name="brtavares@haoc.com.br" userId="S::urn:spo:guest#brtavares@haoc.com.br::" providerId="AD" clId="Web-{18B42FCB-4337-043C-89DB-7ED34FE6E323}" dt="2026-03-12T20:00:35.809" v="94"/>
          <ac:picMkLst>
            <pc:docMk/>
            <pc:sldMk cId="3681065302" sldId="2147470564"/>
            <ac:picMk id="65" creationId="{865EFEAF-BB63-3D62-DF41-E836829B982E}"/>
          </ac:picMkLst>
        </pc:picChg>
      </pc:sldChg>
      <pc:sldChg chg="addSp modSp addAnim modAnim">
        <pc:chgData name="brtavares@haoc.com.br" userId="S::urn:spo:guest#brtavares@haoc.com.br::" providerId="AD" clId="Web-{18B42FCB-4337-043C-89DB-7ED34FE6E323}" dt="2026-03-12T20:20:03.051" v="108"/>
        <pc:sldMkLst>
          <pc:docMk/>
          <pc:sldMk cId="1391414628" sldId="2147470566"/>
        </pc:sldMkLst>
        <pc:spChg chg="add mod">
          <ac:chgData name="brtavares@haoc.com.br" userId="S::urn:spo:guest#brtavares@haoc.com.br::" providerId="AD" clId="Web-{18B42FCB-4337-043C-89DB-7ED34FE6E323}" dt="2026-03-12T20:16:57.392" v="103" actId="1076"/>
          <ac:spMkLst>
            <pc:docMk/>
            <pc:sldMk cId="1391414628" sldId="2147470566"/>
            <ac:spMk id="2" creationId="{3D18195D-B1A5-6FE3-7025-DB27095EA000}"/>
          </ac:spMkLst>
        </pc:spChg>
        <pc:spChg chg="add mod">
          <ac:chgData name="brtavares@haoc.com.br" userId="S::urn:spo:guest#brtavares@haoc.com.br::" providerId="AD" clId="Web-{18B42FCB-4337-043C-89DB-7ED34FE6E323}" dt="2026-03-12T20:19:19.723" v="106" actId="1076"/>
          <ac:spMkLst>
            <pc:docMk/>
            <pc:sldMk cId="1391414628" sldId="2147470566"/>
            <ac:spMk id="7" creationId="{12C9B4D7-3FBA-6D45-27B4-B5AFCF5D34D3}"/>
          </ac:spMkLst>
        </pc:spChg>
      </pc:sldChg>
      <pc:sldChg chg="addSp delSp modSp">
        <pc:chgData name="brtavares@haoc.com.br" userId="S::urn:spo:guest#brtavares@haoc.com.br::" providerId="AD" clId="Web-{18B42FCB-4337-043C-89DB-7ED34FE6E323}" dt="2026-03-12T20:26:52.886" v="159" actId="14100"/>
        <pc:sldMkLst>
          <pc:docMk/>
          <pc:sldMk cId="100289521" sldId="2147470581"/>
        </pc:sldMkLst>
        <pc:spChg chg="add mod">
          <ac:chgData name="brtavares@haoc.com.br" userId="S::urn:spo:guest#brtavares@haoc.com.br::" providerId="AD" clId="Web-{18B42FCB-4337-043C-89DB-7ED34FE6E323}" dt="2026-03-12T20:26:52.886" v="159" actId="14100"/>
          <ac:spMkLst>
            <pc:docMk/>
            <pc:sldMk cId="100289521" sldId="2147470581"/>
            <ac:spMk id="48" creationId="{2A280D1F-DCBA-5C28-A01A-F188850DA9E6}"/>
          </ac:spMkLst>
        </pc:spChg>
        <pc:spChg chg="mod">
          <ac:chgData name="brtavares@haoc.com.br" userId="S::urn:spo:guest#brtavares@haoc.com.br::" providerId="AD" clId="Web-{18B42FCB-4337-043C-89DB-7ED34FE6E323}" dt="2026-03-12T20:26:42.433" v="157" actId="20577"/>
          <ac:spMkLst>
            <pc:docMk/>
            <pc:sldMk cId="100289521" sldId="2147470581"/>
            <ac:spMk id="95" creationId="{2DAE2DBF-BB8B-0F84-680B-C9E7DFC2C54E}"/>
          </ac:spMkLst>
        </pc:spChg>
      </pc:sldChg>
      <pc:sldChg chg="modSp">
        <pc:chgData name="brtavares@haoc.com.br" userId="S::urn:spo:guest#brtavares@haoc.com.br::" providerId="AD" clId="Web-{18B42FCB-4337-043C-89DB-7ED34FE6E323}" dt="2026-03-12T20:36:26.667" v="170" actId="20577"/>
        <pc:sldMkLst>
          <pc:docMk/>
          <pc:sldMk cId="2297912633" sldId="2147470582"/>
        </pc:sldMkLst>
        <pc:spChg chg="mod">
          <ac:chgData name="brtavares@haoc.com.br" userId="S::urn:spo:guest#brtavares@haoc.com.br::" providerId="AD" clId="Web-{18B42FCB-4337-043C-89DB-7ED34FE6E323}" dt="2026-03-12T20:36:26.667" v="170" actId="20577"/>
          <ac:spMkLst>
            <pc:docMk/>
            <pc:sldMk cId="2297912633" sldId="2147470582"/>
            <ac:spMk id="62" creationId="{BFE6851A-5164-CC1D-A9F5-39BA03685DBC}"/>
          </ac:spMkLst>
        </pc:spChg>
      </pc:sldChg>
      <pc:sldChg chg="modSp">
        <pc:chgData name="brtavares@haoc.com.br" userId="S::urn:spo:guest#brtavares@haoc.com.br::" providerId="AD" clId="Web-{18B42FCB-4337-043C-89DB-7ED34FE6E323}" dt="2026-03-12T18:23:21.501" v="4"/>
        <pc:sldMkLst>
          <pc:docMk/>
          <pc:sldMk cId="2373872529" sldId="2147470587"/>
        </pc:sldMkLst>
        <pc:graphicFrameChg chg="mod modGraphic">
          <ac:chgData name="brtavares@haoc.com.br" userId="S::urn:spo:guest#brtavares@haoc.com.br::" providerId="AD" clId="Web-{18B42FCB-4337-043C-89DB-7ED34FE6E323}" dt="2026-03-12T18:23:21.501" v="4"/>
          <ac:graphicFrameMkLst>
            <pc:docMk/>
            <pc:sldMk cId="2373872529" sldId="2147470587"/>
            <ac:graphicFrameMk id="15" creationId="{C2F94A55-B4AC-D759-AA3B-475228C6F66C}"/>
          </ac:graphicFrameMkLst>
        </pc:graphicFrameChg>
      </pc:sldChg>
    </pc:docChg>
  </pc:docChgLst>
  <pc:docChgLst>
    <pc:chgData name="claudiavsilva1@hotmail.com" userId="S::urn:spo:guest#claudiavsilva1@hotmail.com::" providerId="AD" clId="Web-{5EE78A83-FD74-6AC1-E2FB-5AAF12F753B3}"/>
    <pc:docChg chg="modSld">
      <pc:chgData name="claudiavsilva1@hotmail.com" userId="S::urn:spo:guest#claudiavsilva1@hotmail.com::" providerId="AD" clId="Web-{5EE78A83-FD74-6AC1-E2FB-5AAF12F753B3}" dt="2026-02-17T18:07:01.413" v="106"/>
      <pc:docMkLst>
        <pc:docMk/>
      </pc:docMkLst>
      <pc:sldChg chg="addSp delSp modSp addAnim delAnim">
        <pc:chgData name="claudiavsilva1@hotmail.com" userId="S::urn:spo:guest#claudiavsilva1@hotmail.com::" providerId="AD" clId="Web-{5EE78A83-FD74-6AC1-E2FB-5AAF12F753B3}" dt="2026-02-17T18:07:01.413" v="106"/>
        <pc:sldMkLst>
          <pc:docMk/>
          <pc:sldMk cId="1391414628" sldId="2147470566"/>
        </pc:sldMkLst>
        <pc:spChg chg="add mod">
          <ac:chgData name="claudiavsilva1@hotmail.com" userId="S::urn:spo:guest#claudiavsilva1@hotmail.com::" providerId="AD" clId="Web-{5EE78A83-FD74-6AC1-E2FB-5AAF12F753B3}" dt="2026-02-17T17:55:34.224" v="27" actId="1076"/>
          <ac:spMkLst>
            <pc:docMk/>
            <pc:sldMk cId="1391414628" sldId="2147470566"/>
            <ac:spMk id="6" creationId="{EC0DB87E-0D6C-3BFA-F566-74CCEC8330A6}"/>
          </ac:spMkLst>
        </pc:spChg>
        <pc:spChg chg="add mod">
          <ac:chgData name="claudiavsilva1@hotmail.com" userId="S::urn:spo:guest#claudiavsilva1@hotmail.com::" providerId="AD" clId="Web-{5EE78A83-FD74-6AC1-E2FB-5AAF12F753B3}" dt="2026-02-17T17:56:27.318" v="30" actId="1076"/>
          <ac:spMkLst>
            <pc:docMk/>
            <pc:sldMk cId="1391414628" sldId="2147470566"/>
            <ac:spMk id="11" creationId="{EB5FD293-AB60-335D-A193-B4641A7281A4}"/>
          </ac:spMkLst>
        </pc:spChg>
        <pc:spChg chg="add mod">
          <ac:chgData name="claudiavsilva1@hotmail.com" userId="S::urn:spo:guest#claudiavsilva1@hotmail.com::" providerId="AD" clId="Web-{5EE78A83-FD74-6AC1-E2FB-5AAF12F753B3}" dt="2026-02-17T18:02:00.630" v="60" actId="1076"/>
          <ac:spMkLst>
            <pc:docMk/>
            <pc:sldMk cId="1391414628" sldId="2147470566"/>
            <ac:spMk id="63" creationId="{440D703F-CDD7-B9F3-F6B4-3BD57C3BD1B9}"/>
          </ac:spMkLst>
        </pc:spChg>
        <pc:spChg chg="add mod">
          <ac:chgData name="claudiavsilva1@hotmail.com" userId="S::urn:spo:guest#claudiavsilva1@hotmail.com::" providerId="AD" clId="Web-{5EE78A83-FD74-6AC1-E2FB-5AAF12F753B3}" dt="2026-02-17T18:00:52.387" v="43" actId="1076"/>
          <ac:spMkLst>
            <pc:docMk/>
            <pc:sldMk cId="1391414628" sldId="2147470566"/>
            <ac:spMk id="64" creationId="{25E35E56-0C73-84E9-3FAF-58B27CCD2D3C}"/>
          </ac:spMkLst>
        </pc:spChg>
        <pc:spChg chg="add mod">
          <ac:chgData name="claudiavsilva1@hotmail.com" userId="S::urn:spo:guest#claudiavsilva1@hotmail.com::" providerId="AD" clId="Web-{5EE78A83-FD74-6AC1-E2FB-5AAF12F753B3}" dt="2026-02-17T18:00:40.449" v="41" actId="1076"/>
          <ac:spMkLst>
            <pc:docMk/>
            <pc:sldMk cId="1391414628" sldId="2147470566"/>
            <ac:spMk id="65" creationId="{900026FA-FC32-EDBE-8DC9-5BB84DBDA2D2}"/>
          </ac:spMkLst>
        </pc:spChg>
        <pc:spChg chg="add mod">
          <ac:chgData name="claudiavsilva1@hotmail.com" userId="S::urn:spo:guest#claudiavsilva1@hotmail.com::" providerId="AD" clId="Web-{5EE78A83-FD74-6AC1-E2FB-5AAF12F753B3}" dt="2026-02-17T17:59:51.292" v="35" actId="1076"/>
          <ac:spMkLst>
            <pc:docMk/>
            <pc:sldMk cId="1391414628" sldId="2147470566"/>
            <ac:spMk id="67" creationId="{8B47578F-32DB-B770-A475-B12CD6D92F99}"/>
          </ac:spMkLst>
        </pc:spChg>
        <pc:spChg chg="add mod">
          <ac:chgData name="claudiavsilva1@hotmail.com" userId="S::urn:spo:guest#claudiavsilva1@hotmail.com::" providerId="AD" clId="Web-{5EE78A83-FD74-6AC1-E2FB-5AAF12F753B3}" dt="2026-02-17T18:01:08.813" v="46" actId="1076"/>
          <ac:spMkLst>
            <pc:docMk/>
            <pc:sldMk cId="1391414628" sldId="2147470566"/>
            <ac:spMk id="68" creationId="{0CDB414A-913A-6DFE-EE9E-8A38EF92EC6B}"/>
          </ac:spMkLst>
        </pc:spChg>
        <pc:spChg chg="add mod">
          <ac:chgData name="claudiavsilva1@hotmail.com" userId="S::urn:spo:guest#claudiavsilva1@hotmail.com::" providerId="AD" clId="Web-{5EE78A83-FD74-6AC1-E2FB-5AAF12F753B3}" dt="2026-02-17T18:01:21.893" v="48" actId="1076"/>
          <ac:spMkLst>
            <pc:docMk/>
            <pc:sldMk cId="1391414628" sldId="2147470566"/>
            <ac:spMk id="69" creationId="{88C983E5-3C0D-B7EB-6D10-EC1AEA1D1C7B}"/>
          </ac:spMkLst>
        </pc:spChg>
        <pc:picChg chg="add mod">
          <ac:chgData name="claudiavsilva1@hotmail.com" userId="S::urn:spo:guest#claudiavsilva1@hotmail.com::" providerId="AD" clId="Web-{5EE78A83-FD74-6AC1-E2FB-5AAF12F753B3}" dt="2026-02-17T17:55:22.958" v="25" actId="14100"/>
          <ac:picMkLst>
            <pc:docMk/>
            <pc:sldMk cId="1391414628" sldId="2147470566"/>
            <ac:picMk id="3" creationId="{82C896E5-BE6E-513E-DAAA-309C9FF27CC0}"/>
          </ac:picMkLst>
        </pc:picChg>
      </pc:sldChg>
    </pc:docChg>
  </pc:docChgLst>
  <pc:docChgLst>
    <pc:chgData name="brtavares@haoc.com.br" userId="S::urn:spo:guest#brtavares@haoc.com.br::" providerId="AD" clId="Web-{BDD799C4-AD91-C272-0C1E-086379DE49B6}"/>
    <pc:docChg chg="modSld">
      <pc:chgData name="brtavares@haoc.com.br" userId="S::urn:spo:guest#brtavares@haoc.com.br::" providerId="AD" clId="Web-{BDD799C4-AD91-C272-0C1E-086379DE49B6}" dt="2026-02-18T10:42:44.661" v="33" actId="1076"/>
      <pc:docMkLst>
        <pc:docMk/>
      </pc:docMkLst>
      <pc:sldChg chg="addSp delSp modSp addAnim delAnim">
        <pc:chgData name="brtavares@haoc.com.br" userId="S::urn:spo:guest#brtavares@haoc.com.br::" providerId="AD" clId="Web-{BDD799C4-AD91-C272-0C1E-086379DE49B6}" dt="2026-02-18T10:34:05.852" v="20"/>
        <pc:sldMkLst>
          <pc:docMk/>
          <pc:sldMk cId="110716045" sldId="2147470560"/>
        </pc:sldMkLst>
        <pc:spChg chg="add mod">
          <ac:chgData name="brtavares@haoc.com.br" userId="S::urn:spo:guest#brtavares@haoc.com.br::" providerId="AD" clId="Web-{BDD799C4-AD91-C272-0C1E-086379DE49B6}" dt="2026-02-18T10:34:05.852" v="20"/>
          <ac:spMkLst>
            <pc:docMk/>
            <pc:sldMk cId="110716045" sldId="2147470560"/>
            <ac:spMk id="3" creationId="{63985EC0-BC8D-F30F-5650-7DF499C3B21F}"/>
          </ac:spMkLst>
        </pc:spChg>
        <pc:spChg chg="add mod">
          <ac:chgData name="brtavares@haoc.com.br" userId="S::urn:spo:guest#brtavares@haoc.com.br::" providerId="AD" clId="Web-{BDD799C4-AD91-C272-0C1E-086379DE49B6}" dt="2026-02-18T10:33:46.164" v="15" actId="1076"/>
          <ac:spMkLst>
            <pc:docMk/>
            <pc:sldMk cId="110716045" sldId="2147470560"/>
            <ac:spMk id="10" creationId="{7C2F45B1-0931-30B6-7AC0-8B9462CEF4E0}"/>
          </ac:spMkLst>
        </pc:spChg>
      </pc:sldChg>
      <pc:sldChg chg="modSp">
        <pc:chgData name="brtavares@haoc.com.br" userId="S::urn:spo:guest#brtavares@haoc.com.br::" providerId="AD" clId="Web-{BDD799C4-AD91-C272-0C1E-086379DE49B6}" dt="2026-02-18T10:40:40.800" v="30" actId="20577"/>
        <pc:sldMkLst>
          <pc:docMk/>
          <pc:sldMk cId="1094828057" sldId="2147470563"/>
        </pc:sldMkLst>
        <pc:spChg chg="mod">
          <ac:chgData name="brtavares@haoc.com.br" userId="S::urn:spo:guest#brtavares@haoc.com.br::" providerId="AD" clId="Web-{BDD799C4-AD91-C272-0C1E-086379DE49B6}" dt="2026-02-18T10:34:47.900" v="21" actId="1076"/>
          <ac:spMkLst>
            <pc:docMk/>
            <pc:sldMk cId="1094828057" sldId="2147470563"/>
            <ac:spMk id="4" creationId="{58B57EBB-47B6-2E5B-AF9D-0875BFA8AF0A}"/>
          </ac:spMkLst>
        </pc:spChg>
        <pc:spChg chg="mod">
          <ac:chgData name="brtavares@haoc.com.br" userId="S::urn:spo:guest#brtavares@haoc.com.br::" providerId="AD" clId="Web-{BDD799C4-AD91-C272-0C1E-086379DE49B6}" dt="2026-02-18T10:40:40.800" v="30" actId="20577"/>
          <ac:spMkLst>
            <pc:docMk/>
            <pc:sldMk cId="1094828057" sldId="2147470563"/>
            <ac:spMk id="6" creationId="{033D2C03-F33D-5127-E37B-2585A9352A0C}"/>
          </ac:spMkLst>
        </pc:spChg>
      </pc:sldChg>
      <pc:sldChg chg="modSp">
        <pc:chgData name="brtavares@haoc.com.br" userId="S::urn:spo:guest#brtavares@haoc.com.br::" providerId="AD" clId="Web-{BDD799C4-AD91-C272-0C1E-086379DE49B6}" dt="2026-02-18T10:42:44.661" v="33" actId="1076"/>
        <pc:sldMkLst>
          <pc:docMk/>
          <pc:sldMk cId="1391414628" sldId="2147470566"/>
        </pc:sldMkLst>
      </pc:sldChg>
    </pc:docChg>
  </pc:docChgLst>
  <pc:docChgLst>
    <pc:chgData name="Roberta Gonçalves Marques" userId="2c480c89-d342-41b6-95e1-bced2e204245" providerId="ADAL" clId="{9B46EF7C-4D3D-41C6-B386-10A2F45CB3E5}"/>
    <pc:docChg chg="undo redo custSel addSld delSld modSld sldOrd">
      <pc:chgData name="Roberta Gonçalves Marques" userId="2c480c89-d342-41b6-95e1-bced2e204245" providerId="ADAL" clId="{9B46EF7C-4D3D-41C6-B386-10A2F45CB3E5}" dt="2026-03-10T15:27:47.370" v="2475" actId="1076"/>
      <pc:docMkLst>
        <pc:docMk/>
      </pc:docMkLst>
      <pc:sldChg chg="addSp delSp modSp mod modAnim">
        <pc:chgData name="Roberta Gonçalves Marques" userId="2c480c89-d342-41b6-95e1-bced2e204245" providerId="ADAL" clId="{9B46EF7C-4D3D-41C6-B386-10A2F45CB3E5}" dt="2026-03-05T18:13:23.706" v="2026" actId="20577"/>
        <pc:sldMkLst>
          <pc:docMk/>
          <pc:sldMk cId="2450670423" sldId="2147470505"/>
        </pc:sldMkLst>
        <pc:spChg chg="mod">
          <ac:chgData name="Roberta Gonçalves Marques" userId="2c480c89-d342-41b6-95e1-bced2e204245" providerId="ADAL" clId="{9B46EF7C-4D3D-41C6-B386-10A2F45CB3E5}" dt="2026-03-05T18:13:23.706" v="2026" actId="20577"/>
          <ac:spMkLst>
            <pc:docMk/>
            <pc:sldMk cId="2450670423" sldId="2147470505"/>
            <ac:spMk id="6" creationId="{B8A477DA-EA6B-88C7-5722-5F1F1313F132}"/>
          </ac:spMkLst>
        </pc:spChg>
      </pc:sldChg>
      <pc:sldChg chg="addSp delSp modSp mod modAnim">
        <pc:chgData name="Roberta Gonçalves Marques" userId="2c480c89-d342-41b6-95e1-bced2e204245" providerId="ADAL" clId="{9B46EF7C-4D3D-41C6-B386-10A2F45CB3E5}" dt="2026-03-05T18:15:54.792" v="2172" actId="113"/>
        <pc:sldMkLst>
          <pc:docMk/>
          <pc:sldMk cId="121683268" sldId="2147470507"/>
        </pc:sldMkLst>
        <pc:spChg chg="mod">
          <ac:chgData name="Roberta Gonçalves Marques" userId="2c480c89-d342-41b6-95e1-bced2e204245" providerId="ADAL" clId="{9B46EF7C-4D3D-41C6-B386-10A2F45CB3E5}" dt="2026-03-05T18:15:54.792" v="2172" actId="113"/>
          <ac:spMkLst>
            <pc:docMk/>
            <pc:sldMk cId="121683268" sldId="2147470507"/>
            <ac:spMk id="7" creationId="{9408F1D1-411B-9547-3D18-F4937BF9BA82}"/>
          </ac:spMkLst>
        </pc:spChg>
        <pc:spChg chg="add mod">
          <ac:chgData name="Roberta Gonçalves Marques" userId="2c480c89-d342-41b6-95e1-bced2e204245" providerId="ADAL" clId="{9B46EF7C-4D3D-41C6-B386-10A2F45CB3E5}" dt="2026-03-05T18:15:04.474" v="2046" actId="20577"/>
          <ac:spMkLst>
            <pc:docMk/>
            <pc:sldMk cId="121683268" sldId="2147470507"/>
            <ac:spMk id="15" creationId="{6911640A-9437-9139-916C-B364CA5E6171}"/>
          </ac:spMkLst>
        </pc:spChg>
      </pc:sldChg>
      <pc:sldChg chg="addSp delSp modSp mod modAnim">
        <pc:chgData name="Roberta Gonçalves Marques" userId="2c480c89-d342-41b6-95e1-bced2e204245" providerId="ADAL" clId="{9B46EF7C-4D3D-41C6-B386-10A2F45CB3E5}" dt="2026-03-05T18:17:21.730" v="2173" actId="20577"/>
        <pc:sldMkLst>
          <pc:docMk/>
          <pc:sldMk cId="3433120575" sldId="2147470511"/>
        </pc:sldMkLst>
        <pc:spChg chg="mod">
          <ac:chgData name="Roberta Gonçalves Marques" userId="2c480c89-d342-41b6-95e1-bced2e204245" providerId="ADAL" clId="{9B46EF7C-4D3D-41C6-B386-10A2F45CB3E5}" dt="2026-03-05T18:17:21.730" v="2173" actId="20577"/>
          <ac:spMkLst>
            <pc:docMk/>
            <pc:sldMk cId="3433120575" sldId="2147470511"/>
            <ac:spMk id="6" creationId="{AA63E110-E38A-ACDE-55B2-FF13C33390AB}"/>
          </ac:spMkLst>
        </pc:spChg>
      </pc:sldChg>
      <pc:sldChg chg="addSp delSp modSp mod delAnim modAnim">
        <pc:chgData name="Roberta Gonçalves Marques" userId="2c480c89-d342-41b6-95e1-bced2e204245" providerId="ADAL" clId="{9B46EF7C-4D3D-41C6-B386-10A2F45CB3E5}" dt="2026-02-19T16:32:32.774" v="1933" actId="571"/>
        <pc:sldMkLst>
          <pc:docMk/>
          <pc:sldMk cId="1340699539" sldId="2147470521"/>
        </pc:sldMkLst>
        <pc:spChg chg="add mod">
          <ac:chgData name="Roberta Gonçalves Marques" userId="2c480c89-d342-41b6-95e1-bced2e204245" providerId="ADAL" clId="{9B46EF7C-4D3D-41C6-B386-10A2F45CB3E5}" dt="2026-02-19T16:32:32.774" v="1933" actId="571"/>
          <ac:spMkLst>
            <pc:docMk/>
            <pc:sldMk cId="1340699539" sldId="2147470521"/>
            <ac:spMk id="7" creationId="{266453C1-AC36-8993-2A07-5E28DD36FE7E}"/>
          </ac:spMkLst>
        </pc:spChg>
        <pc:picChg chg="add mod">
          <ac:chgData name="Roberta Gonçalves Marques" userId="2c480c89-d342-41b6-95e1-bced2e204245" providerId="ADAL" clId="{9B46EF7C-4D3D-41C6-B386-10A2F45CB3E5}" dt="2026-02-19T16:32:32.774" v="1933" actId="571"/>
          <ac:picMkLst>
            <pc:docMk/>
            <pc:sldMk cId="1340699539" sldId="2147470521"/>
            <ac:picMk id="2" creationId="{200D1FFE-842F-C2A5-CCEB-ED15A677B711}"/>
          </ac:picMkLst>
        </pc:picChg>
      </pc:sldChg>
      <pc:sldChg chg="delSp modSp mod delAnim">
        <pc:chgData name="Roberta Gonçalves Marques" userId="2c480c89-d342-41b6-95e1-bced2e204245" providerId="ADAL" clId="{9B46EF7C-4D3D-41C6-B386-10A2F45CB3E5}" dt="2026-03-05T18:18:20.646" v="2181" actId="478"/>
        <pc:sldMkLst>
          <pc:docMk/>
          <pc:sldMk cId="3592932926" sldId="2147470523"/>
        </pc:sldMkLst>
      </pc:sldChg>
      <pc:sldChg chg="addSp delSp modSp mod modAnim">
        <pc:chgData name="Roberta Gonçalves Marques" userId="2c480c89-d342-41b6-95e1-bced2e204245" providerId="ADAL" clId="{9B46EF7C-4D3D-41C6-B386-10A2F45CB3E5}" dt="2026-03-05T18:17:59.541" v="2178" actId="5793"/>
        <pc:sldMkLst>
          <pc:docMk/>
          <pc:sldMk cId="1920200729" sldId="2147470528"/>
        </pc:sldMkLst>
        <pc:spChg chg="mod">
          <ac:chgData name="Roberta Gonçalves Marques" userId="2c480c89-d342-41b6-95e1-bced2e204245" providerId="ADAL" clId="{9B46EF7C-4D3D-41C6-B386-10A2F45CB3E5}" dt="2026-03-05T18:17:59.541" v="2178" actId="5793"/>
          <ac:spMkLst>
            <pc:docMk/>
            <pc:sldMk cId="1920200729" sldId="2147470528"/>
            <ac:spMk id="7" creationId="{04A4E299-7FA8-BF49-450C-F7F462DB6F9C}"/>
          </ac:spMkLst>
        </pc:spChg>
      </pc:sldChg>
      <pc:sldChg chg="addSp delSp modSp add mod addAnim delAnim modAnim">
        <pc:chgData name="Roberta Gonçalves Marques" userId="2c480c89-d342-41b6-95e1-bced2e204245" providerId="ADAL" clId="{9B46EF7C-4D3D-41C6-B386-10A2F45CB3E5}" dt="2026-03-05T18:13:09.233" v="1996" actId="478"/>
        <pc:sldMkLst>
          <pc:docMk/>
          <pc:sldMk cId="2301379314" sldId="2147470537"/>
        </pc:sldMkLst>
        <pc:spChg chg="add del mod">
          <ac:chgData name="Roberta Gonçalves Marques" userId="2c480c89-d342-41b6-95e1-bced2e204245" providerId="ADAL" clId="{9B46EF7C-4D3D-41C6-B386-10A2F45CB3E5}" dt="2026-03-05T18:13:01.643" v="1993" actId="6549"/>
          <ac:spMkLst>
            <pc:docMk/>
            <pc:sldMk cId="2301379314" sldId="2147470537"/>
            <ac:spMk id="6" creationId="{B650FE45-50DD-794C-18E3-E55B83A785FF}"/>
          </ac:spMkLst>
        </pc:spChg>
      </pc:sldChg>
      <pc:sldChg chg="addSp delSp modSp add mod modAnim">
        <pc:chgData name="Roberta Gonçalves Marques" userId="2c480c89-d342-41b6-95e1-bced2e204245" providerId="ADAL" clId="{9B46EF7C-4D3D-41C6-B386-10A2F45CB3E5}" dt="2026-02-18T11:35:12.896" v="1903" actId="113"/>
        <pc:sldMkLst>
          <pc:docMk/>
          <pc:sldMk cId="3527457295" sldId="2147470539"/>
        </pc:sldMkLst>
        <pc:spChg chg="mod">
          <ac:chgData name="Roberta Gonçalves Marques" userId="2c480c89-d342-41b6-95e1-bced2e204245" providerId="ADAL" clId="{9B46EF7C-4D3D-41C6-B386-10A2F45CB3E5}" dt="2026-02-18T11:35:12.896" v="1903" actId="113"/>
          <ac:spMkLst>
            <pc:docMk/>
            <pc:sldMk cId="3527457295" sldId="2147470539"/>
            <ac:spMk id="7" creationId="{F8A27907-9E44-AB82-7DC9-D8EAE5E4A832}"/>
          </ac:spMkLst>
        </pc:spChg>
      </pc:sldChg>
      <pc:sldChg chg="addSp delSp modSp add mod ord modAnim">
        <pc:chgData name="Roberta Gonçalves Marques" userId="2c480c89-d342-41b6-95e1-bced2e204245" providerId="ADAL" clId="{9B46EF7C-4D3D-41C6-B386-10A2F45CB3E5}" dt="2026-03-09T19:11:04.460" v="2395" actId="20577"/>
        <pc:sldMkLst>
          <pc:docMk/>
          <pc:sldMk cId="3344040674" sldId="2147470543"/>
        </pc:sldMkLst>
        <pc:spChg chg="mod">
          <ac:chgData name="Roberta Gonçalves Marques" userId="2c480c89-d342-41b6-95e1-bced2e204245" providerId="ADAL" clId="{9B46EF7C-4D3D-41C6-B386-10A2F45CB3E5}" dt="2026-03-09T19:11:04.460" v="2395" actId="20577"/>
          <ac:spMkLst>
            <pc:docMk/>
            <pc:sldMk cId="3344040674" sldId="2147470543"/>
            <ac:spMk id="6" creationId="{AAB4CE07-29B3-D715-8F3C-22C71C77C1CD}"/>
          </ac:spMkLst>
        </pc:spChg>
      </pc:sldChg>
      <pc:sldChg chg="modSp mod">
        <pc:chgData name="Roberta Gonçalves Marques" userId="2c480c89-d342-41b6-95e1-bced2e204245" providerId="ADAL" clId="{9B46EF7C-4D3D-41C6-B386-10A2F45CB3E5}" dt="2026-03-05T18:33:45.189" v="2390" actId="20577"/>
        <pc:sldMkLst>
          <pc:docMk/>
          <pc:sldMk cId="2569911629" sldId="2147470556"/>
        </pc:sldMkLst>
        <pc:spChg chg="mod">
          <ac:chgData name="Roberta Gonçalves Marques" userId="2c480c89-d342-41b6-95e1-bced2e204245" providerId="ADAL" clId="{9B46EF7C-4D3D-41C6-B386-10A2F45CB3E5}" dt="2026-02-18T11:36:30.819" v="1909" actId="20577"/>
          <ac:spMkLst>
            <pc:docMk/>
            <pc:sldMk cId="2569911629" sldId="2147470556"/>
            <ac:spMk id="8" creationId="{8D9C30DE-5E5C-26FD-2CCC-825F433357E4}"/>
          </ac:spMkLst>
        </pc:spChg>
        <pc:spChg chg="mod">
          <ac:chgData name="Roberta Gonçalves Marques" userId="2c480c89-d342-41b6-95e1-bced2e204245" providerId="ADAL" clId="{9B46EF7C-4D3D-41C6-B386-10A2F45CB3E5}" dt="2026-03-05T18:33:00.045" v="2302" actId="20577"/>
          <ac:spMkLst>
            <pc:docMk/>
            <pc:sldMk cId="2569911629" sldId="2147470556"/>
            <ac:spMk id="1027" creationId="{D6508687-FE8E-AC76-E762-C54C2835AC10}"/>
          </ac:spMkLst>
        </pc:spChg>
        <pc:spChg chg="mod">
          <ac:chgData name="Roberta Gonçalves Marques" userId="2c480c89-d342-41b6-95e1-bced2e204245" providerId="ADAL" clId="{9B46EF7C-4D3D-41C6-B386-10A2F45CB3E5}" dt="2026-03-05T18:33:45.189" v="2390" actId="20577"/>
          <ac:spMkLst>
            <pc:docMk/>
            <pc:sldMk cId="2569911629" sldId="2147470556"/>
            <ac:spMk id="1030" creationId="{748508E0-95A1-E37D-6C84-F8FA7FE4E43C}"/>
          </ac:spMkLst>
        </pc:spChg>
      </pc:sldChg>
      <pc:sldChg chg="modSp mod">
        <pc:chgData name="Roberta Gonçalves Marques" userId="2c480c89-d342-41b6-95e1-bced2e204245" providerId="ADAL" clId="{9B46EF7C-4D3D-41C6-B386-10A2F45CB3E5}" dt="2026-03-05T18:31:31.765" v="2265" actId="20577"/>
        <pc:sldMkLst>
          <pc:docMk/>
          <pc:sldMk cId="485089130" sldId="2147470558"/>
        </pc:sldMkLst>
        <pc:spChg chg="mod">
          <ac:chgData name="Roberta Gonçalves Marques" userId="2c480c89-d342-41b6-95e1-bced2e204245" providerId="ADAL" clId="{9B46EF7C-4D3D-41C6-B386-10A2F45CB3E5}" dt="2026-03-05T18:31:31.765" v="2265" actId="20577"/>
          <ac:spMkLst>
            <pc:docMk/>
            <pc:sldMk cId="485089130" sldId="2147470558"/>
            <ac:spMk id="7" creationId="{BBFC2DBC-EBFA-C929-FAA8-B96B7FEDF8E2}"/>
          </ac:spMkLst>
        </pc:spChg>
      </pc:sldChg>
      <pc:sldChg chg="delSp modSp mod delAnim modAnim">
        <pc:chgData name="Roberta Gonçalves Marques" userId="2c480c89-d342-41b6-95e1-bced2e204245" providerId="ADAL" clId="{9B46EF7C-4D3D-41C6-B386-10A2F45CB3E5}" dt="2026-03-09T20:05:21.965" v="2404" actId="5793"/>
        <pc:sldMkLst>
          <pc:docMk/>
          <pc:sldMk cId="110716045" sldId="2147470560"/>
        </pc:sldMkLst>
        <pc:spChg chg="mod">
          <ac:chgData name="Roberta Gonçalves Marques" userId="2c480c89-d342-41b6-95e1-bced2e204245" providerId="ADAL" clId="{9B46EF7C-4D3D-41C6-B386-10A2F45CB3E5}" dt="2026-03-09T20:05:21.965" v="2404" actId="5793"/>
          <ac:spMkLst>
            <pc:docMk/>
            <pc:sldMk cId="110716045" sldId="2147470560"/>
            <ac:spMk id="3" creationId="{63985EC0-BC8D-F30F-5650-7DF499C3B21F}"/>
          </ac:spMkLst>
        </pc:spChg>
      </pc:sldChg>
      <pc:sldChg chg="modSp mod">
        <pc:chgData name="Roberta Gonçalves Marques" userId="2c480c89-d342-41b6-95e1-bced2e204245" providerId="ADAL" clId="{9B46EF7C-4D3D-41C6-B386-10A2F45CB3E5}" dt="2026-02-18T11:38:20.723" v="1932" actId="20577"/>
        <pc:sldMkLst>
          <pc:docMk/>
          <pc:sldMk cId="1096016273" sldId="2147470565"/>
        </pc:sldMkLst>
        <pc:spChg chg="mod">
          <ac:chgData name="Roberta Gonçalves Marques" userId="2c480c89-d342-41b6-95e1-bced2e204245" providerId="ADAL" clId="{9B46EF7C-4D3D-41C6-B386-10A2F45CB3E5}" dt="2026-02-18T11:38:20.723" v="1932" actId="20577"/>
          <ac:spMkLst>
            <pc:docMk/>
            <pc:sldMk cId="1096016273" sldId="2147470565"/>
            <ac:spMk id="8" creationId="{406652B6-2345-F4F7-FBDC-35D99566062D}"/>
          </ac:spMkLst>
        </pc:spChg>
      </pc:sldChg>
      <pc:sldChg chg="delSp modSp mod delAnim modAnim">
        <pc:chgData name="Roberta Gonçalves Marques" userId="2c480c89-d342-41b6-95e1-bced2e204245" providerId="ADAL" clId="{9B46EF7C-4D3D-41C6-B386-10A2F45CB3E5}" dt="2026-03-05T18:21:22.094" v="2193" actId="478"/>
        <pc:sldMkLst>
          <pc:docMk/>
          <pc:sldMk cId="1391414628" sldId="2147470566"/>
        </pc:sldMkLst>
      </pc:sldChg>
      <pc:sldChg chg="addSp modSp mod">
        <pc:chgData name="Roberta Gonçalves Marques" userId="2c480c89-d342-41b6-95e1-bced2e204245" providerId="ADAL" clId="{9B46EF7C-4D3D-41C6-B386-10A2F45CB3E5}" dt="2026-03-05T18:04:48.874" v="1936" actId="2085"/>
        <pc:sldMkLst>
          <pc:docMk/>
          <pc:sldMk cId="1770960882" sldId="2147470568"/>
        </pc:sldMkLst>
        <pc:spChg chg="add mod">
          <ac:chgData name="Roberta Gonçalves Marques" userId="2c480c89-d342-41b6-95e1-bced2e204245" providerId="ADAL" clId="{9B46EF7C-4D3D-41C6-B386-10A2F45CB3E5}" dt="2026-03-05T18:04:48.874" v="1936" actId="2085"/>
          <ac:spMkLst>
            <pc:docMk/>
            <pc:sldMk cId="1770960882" sldId="2147470568"/>
            <ac:spMk id="3" creationId="{CDE26C76-AD6D-DE3D-39AE-BD70DB4D3D22}"/>
          </ac:spMkLst>
        </pc:spChg>
      </pc:sldChg>
      <pc:sldChg chg="addSp delSp modSp mod">
        <pc:chgData name="Roberta Gonçalves Marques" userId="2c480c89-d342-41b6-95e1-bced2e204245" providerId="ADAL" clId="{9B46EF7C-4D3D-41C6-B386-10A2F45CB3E5}" dt="2026-03-10T15:26:34.040" v="2441" actId="1076"/>
        <pc:sldMkLst>
          <pc:docMk/>
          <pc:sldMk cId="1174636496" sldId="2147470569"/>
        </pc:sldMkLst>
        <pc:spChg chg="add mod ord">
          <ac:chgData name="Roberta Gonçalves Marques" userId="2c480c89-d342-41b6-95e1-bced2e204245" providerId="ADAL" clId="{9B46EF7C-4D3D-41C6-B386-10A2F45CB3E5}" dt="2026-03-10T15:25:49.142" v="2428" actId="1076"/>
          <ac:spMkLst>
            <pc:docMk/>
            <pc:sldMk cId="1174636496" sldId="2147470569"/>
            <ac:spMk id="6" creationId="{BB7CFC9C-538A-B263-5C01-82342917CEE2}"/>
          </ac:spMkLst>
        </pc:spChg>
        <pc:spChg chg="add mod">
          <ac:chgData name="Roberta Gonçalves Marques" userId="2c480c89-d342-41b6-95e1-bced2e204245" providerId="ADAL" clId="{9B46EF7C-4D3D-41C6-B386-10A2F45CB3E5}" dt="2026-03-10T15:25:57.511" v="2431" actId="1076"/>
          <ac:spMkLst>
            <pc:docMk/>
            <pc:sldMk cId="1174636496" sldId="2147470569"/>
            <ac:spMk id="7" creationId="{4C0BC16C-445E-FAC9-A85C-9E926965E9CC}"/>
          </ac:spMkLst>
        </pc:spChg>
        <pc:spChg chg="add mod">
          <ac:chgData name="Roberta Gonçalves Marques" userId="2c480c89-d342-41b6-95e1-bced2e204245" providerId="ADAL" clId="{9B46EF7C-4D3D-41C6-B386-10A2F45CB3E5}" dt="2026-03-10T15:26:10.551" v="2434" actId="1076"/>
          <ac:spMkLst>
            <pc:docMk/>
            <pc:sldMk cId="1174636496" sldId="2147470569"/>
            <ac:spMk id="9" creationId="{35170741-7BF9-FE03-1552-C0B2088898A7}"/>
          </ac:spMkLst>
        </pc:spChg>
        <pc:spChg chg="add mod">
          <ac:chgData name="Roberta Gonçalves Marques" userId="2c480c89-d342-41b6-95e1-bced2e204245" providerId="ADAL" clId="{9B46EF7C-4D3D-41C6-B386-10A2F45CB3E5}" dt="2026-03-10T15:26:19.800" v="2437" actId="1076"/>
          <ac:spMkLst>
            <pc:docMk/>
            <pc:sldMk cId="1174636496" sldId="2147470569"/>
            <ac:spMk id="11" creationId="{C9D71E3F-EE08-4E45-75A9-19E2773294E2}"/>
          </ac:spMkLst>
        </pc:spChg>
        <pc:spChg chg="add mod">
          <ac:chgData name="Roberta Gonçalves Marques" userId="2c480c89-d342-41b6-95e1-bced2e204245" providerId="ADAL" clId="{9B46EF7C-4D3D-41C6-B386-10A2F45CB3E5}" dt="2026-03-10T15:26:30.032" v="2440" actId="1076"/>
          <ac:spMkLst>
            <pc:docMk/>
            <pc:sldMk cId="1174636496" sldId="2147470569"/>
            <ac:spMk id="14" creationId="{E618129A-746B-136E-06F5-4B9B813BCCE9}"/>
          </ac:spMkLst>
        </pc:spChg>
        <pc:spChg chg="mod">
          <ac:chgData name="Roberta Gonçalves Marques" userId="2c480c89-d342-41b6-95e1-bced2e204245" providerId="ADAL" clId="{9B46EF7C-4D3D-41C6-B386-10A2F45CB3E5}" dt="2026-03-10T15:25:51.204" v="2429" actId="1076"/>
          <ac:spMkLst>
            <pc:docMk/>
            <pc:sldMk cId="1174636496" sldId="2147470569"/>
            <ac:spMk id="33" creationId="{1DBD6F51-FBE5-C735-F40E-8BF4268DEA87}"/>
          </ac:spMkLst>
        </pc:spChg>
        <pc:spChg chg="mod">
          <ac:chgData name="Roberta Gonçalves Marques" userId="2c480c89-d342-41b6-95e1-bced2e204245" providerId="ADAL" clId="{9B46EF7C-4D3D-41C6-B386-10A2F45CB3E5}" dt="2026-03-10T15:26:04.094" v="2432" actId="1076"/>
          <ac:spMkLst>
            <pc:docMk/>
            <pc:sldMk cId="1174636496" sldId="2147470569"/>
            <ac:spMk id="34" creationId="{EE10865E-0839-E296-F27C-2D24445EC90F}"/>
          </ac:spMkLst>
        </pc:spChg>
        <pc:spChg chg="mod">
          <ac:chgData name="Roberta Gonçalves Marques" userId="2c480c89-d342-41b6-95e1-bced2e204245" providerId="ADAL" clId="{9B46EF7C-4D3D-41C6-B386-10A2F45CB3E5}" dt="2026-03-10T15:26:34.040" v="2441" actId="1076"/>
          <ac:spMkLst>
            <pc:docMk/>
            <pc:sldMk cId="1174636496" sldId="2147470569"/>
            <ac:spMk id="35" creationId="{6303B699-8504-17FA-0A48-108473168354}"/>
          </ac:spMkLst>
        </pc:spChg>
        <pc:spChg chg="mod">
          <ac:chgData name="Roberta Gonçalves Marques" userId="2c480c89-d342-41b6-95e1-bced2e204245" providerId="ADAL" clId="{9B46EF7C-4D3D-41C6-B386-10A2F45CB3E5}" dt="2026-03-10T15:26:13.784" v="2435" actId="1076"/>
          <ac:spMkLst>
            <pc:docMk/>
            <pc:sldMk cId="1174636496" sldId="2147470569"/>
            <ac:spMk id="1035" creationId="{E9638A43-F777-9D4B-C1EF-58DEB5926201}"/>
          </ac:spMkLst>
        </pc:spChg>
        <pc:spChg chg="mod">
          <ac:chgData name="Roberta Gonçalves Marques" userId="2c480c89-d342-41b6-95e1-bced2e204245" providerId="ADAL" clId="{9B46EF7C-4D3D-41C6-B386-10A2F45CB3E5}" dt="2026-03-10T15:26:24.257" v="2438" actId="1076"/>
          <ac:spMkLst>
            <pc:docMk/>
            <pc:sldMk cId="1174636496" sldId="2147470569"/>
            <ac:spMk id="1036" creationId="{852C8FD0-8A55-24CD-6C98-A65582FC84C3}"/>
          </ac:spMkLst>
        </pc:spChg>
      </pc:sldChg>
      <pc:sldChg chg="addSp delSp modSp mod">
        <pc:chgData name="Roberta Gonçalves Marques" userId="2c480c89-d342-41b6-95e1-bced2e204245" providerId="ADAL" clId="{9B46EF7C-4D3D-41C6-B386-10A2F45CB3E5}" dt="2026-03-10T15:27:47.370" v="2475" actId="1076"/>
        <pc:sldMkLst>
          <pc:docMk/>
          <pc:sldMk cId="35791191" sldId="2147470573"/>
        </pc:sldMkLst>
        <pc:spChg chg="mod">
          <ac:chgData name="Roberta Gonçalves Marques" userId="2c480c89-d342-41b6-95e1-bced2e204245" providerId="ADAL" clId="{9B46EF7C-4D3D-41C6-B386-10A2F45CB3E5}" dt="2026-03-10T15:27:43.871" v="2474" actId="1076"/>
          <ac:spMkLst>
            <pc:docMk/>
            <pc:sldMk cId="35791191" sldId="2147470573"/>
            <ac:spMk id="1041" creationId="{D0E5C825-3087-6145-2C48-7B01CA543D9F}"/>
          </ac:spMkLst>
        </pc:spChg>
        <pc:graphicFrameChg chg="mod">
          <ac:chgData name="Roberta Gonçalves Marques" userId="2c480c89-d342-41b6-95e1-bced2e204245" providerId="ADAL" clId="{9B46EF7C-4D3D-41C6-B386-10A2F45CB3E5}" dt="2026-03-05T18:06:57.792" v="1965" actId="1076"/>
          <ac:graphicFrameMkLst>
            <pc:docMk/>
            <pc:sldMk cId="35791191" sldId="2147470573"/>
            <ac:graphicFrameMk id="7" creationId="{719607DA-0147-738D-8EB1-FEA780467527}"/>
          </ac:graphicFrameMkLst>
        </pc:graphicFrameChg>
        <pc:graphicFrameChg chg="mod">
          <ac:chgData name="Roberta Gonçalves Marques" userId="2c480c89-d342-41b6-95e1-bced2e204245" providerId="ADAL" clId="{9B46EF7C-4D3D-41C6-B386-10A2F45CB3E5}" dt="2026-03-05T18:07:28.871" v="1966" actId="1076"/>
          <ac:graphicFrameMkLst>
            <pc:docMk/>
            <pc:sldMk cId="35791191" sldId="2147470573"/>
            <ac:graphicFrameMk id="14" creationId="{FF0274AA-93E9-B55C-9D62-FA44931D9E48}"/>
          </ac:graphicFrameMkLst>
        </pc:graphicFrameChg>
        <pc:graphicFrameChg chg="modGraphic">
          <ac:chgData name="Roberta Gonçalves Marques" userId="2c480c89-d342-41b6-95e1-bced2e204245" providerId="ADAL" clId="{9B46EF7C-4D3D-41C6-B386-10A2F45CB3E5}" dt="2026-03-05T18:06:46.503" v="1964" actId="20577"/>
          <ac:graphicFrameMkLst>
            <pc:docMk/>
            <pc:sldMk cId="35791191" sldId="2147470573"/>
            <ac:graphicFrameMk id="15" creationId="{25CF19E9-66FE-DE20-42F8-7405214D2B8F}"/>
          </ac:graphicFrameMkLst>
        </pc:graphicFrameChg>
      </pc:sldChg>
      <pc:sldChg chg="mod modShow">
        <pc:chgData name="Roberta Gonçalves Marques" userId="2c480c89-d342-41b6-95e1-bced2e204245" providerId="ADAL" clId="{9B46EF7C-4D3D-41C6-B386-10A2F45CB3E5}" dt="2026-03-05T18:05:16.294" v="1937" actId="729"/>
        <pc:sldMkLst>
          <pc:docMk/>
          <pc:sldMk cId="745252366" sldId="2147470577"/>
        </pc:sldMkLst>
      </pc:sldChg>
      <pc:sldChg chg="modSp mod">
        <pc:chgData name="Roberta Gonçalves Marques" userId="2c480c89-d342-41b6-95e1-bced2e204245" providerId="ADAL" clId="{9B46EF7C-4D3D-41C6-B386-10A2F45CB3E5}" dt="2026-03-05T18:09:48.121" v="1977" actId="20577"/>
        <pc:sldMkLst>
          <pc:docMk/>
          <pc:sldMk cId="2501134232" sldId="2147470580"/>
        </pc:sldMkLst>
        <pc:spChg chg="mod">
          <ac:chgData name="Roberta Gonçalves Marques" userId="2c480c89-d342-41b6-95e1-bced2e204245" providerId="ADAL" clId="{9B46EF7C-4D3D-41C6-B386-10A2F45CB3E5}" dt="2026-03-05T18:09:48.121" v="1977" actId="20577"/>
          <ac:spMkLst>
            <pc:docMk/>
            <pc:sldMk cId="2501134232" sldId="2147470580"/>
            <ac:spMk id="62" creationId="{280F284B-5ED8-2506-F96B-F00AA30DCE94}"/>
          </ac:spMkLst>
        </pc:spChg>
      </pc:sldChg>
    </pc:docChg>
  </pc:docChgLst>
  <pc:docChgLst>
    <pc:chgData name="Roberta Gonçalves Marques" userId="S::roberta.marques@einstein.br::2c480c89-d342-41b6-95e1-bced2e204245" providerId="AD" clId="Web-{CA3137EA-1BC4-4DB5-B1CD-D60ADCD5C1AE}"/>
    <pc:docChg chg="modSld">
      <pc:chgData name="Roberta Gonçalves Marques" userId="S::roberta.marques@einstein.br::2c480c89-d342-41b6-95e1-bced2e204245" providerId="AD" clId="Web-{CA3137EA-1BC4-4DB5-B1CD-D60ADCD5C1AE}" dt="2026-03-19T22:05:32.819" v="26" actId="20577"/>
      <pc:docMkLst>
        <pc:docMk/>
      </pc:docMkLst>
      <pc:sldChg chg="modSp">
        <pc:chgData name="Roberta Gonçalves Marques" userId="S::roberta.marques@einstein.br::2c480c89-d342-41b6-95e1-bced2e204245" providerId="AD" clId="Web-{CA3137EA-1BC4-4DB5-B1CD-D60ADCD5C1AE}" dt="2026-03-19T22:05:32.819" v="26" actId="20577"/>
        <pc:sldMkLst>
          <pc:docMk/>
          <pc:sldMk cId="3527457295" sldId="2147470539"/>
        </pc:sldMkLst>
        <pc:spChg chg="mod">
          <ac:chgData name="Roberta Gonçalves Marques" userId="S::roberta.marques@einstein.br::2c480c89-d342-41b6-95e1-bced2e204245" providerId="AD" clId="Web-{CA3137EA-1BC4-4DB5-B1CD-D60ADCD5C1AE}" dt="2026-03-19T22:05:32.819" v="26" actId="20577"/>
          <ac:spMkLst>
            <pc:docMk/>
            <pc:sldMk cId="3527457295" sldId="2147470539"/>
            <ac:spMk id="7" creationId="{F8A27907-9E44-AB82-7DC9-D8EAE5E4A832}"/>
          </ac:spMkLst>
        </pc:spChg>
      </pc:sldChg>
    </pc:docChg>
  </pc:docChgLst>
  <pc:docChgLst>
    <pc:chgData name="brtavares@haoc.com.br" userId="S::urn:spo:guest#brtavares@haoc.com.br::" providerId="AD" clId="Web-{57524BE1-4283-531A-ED81-6EC2A3F29422}"/>
    <pc:docChg chg="addSld delSld modSld">
      <pc:chgData name="brtavares@haoc.com.br" userId="S::urn:spo:guest#brtavares@haoc.com.br::" providerId="AD" clId="Web-{57524BE1-4283-531A-ED81-6EC2A3F29422}" dt="2026-02-18T14:21:43.037" v="41"/>
      <pc:docMkLst>
        <pc:docMk/>
      </pc:docMkLst>
      <pc:sldChg chg="modSp">
        <pc:chgData name="brtavares@haoc.com.br" userId="S::urn:spo:guest#brtavares@haoc.com.br::" providerId="AD" clId="Web-{57524BE1-4283-531A-ED81-6EC2A3F29422}" dt="2026-02-18T14:18:49.706" v="38" actId="20577"/>
        <pc:sldMkLst>
          <pc:docMk/>
          <pc:sldMk cId="3527457295" sldId="2147470539"/>
        </pc:sldMkLst>
        <pc:spChg chg="mod">
          <ac:chgData name="brtavares@haoc.com.br" userId="S::urn:spo:guest#brtavares@haoc.com.br::" providerId="AD" clId="Web-{57524BE1-4283-531A-ED81-6EC2A3F29422}" dt="2026-02-18T14:18:49.706" v="38" actId="20577"/>
          <ac:spMkLst>
            <pc:docMk/>
            <pc:sldMk cId="3527457295" sldId="2147470539"/>
            <ac:spMk id="7" creationId="{F8A27907-9E44-AB82-7DC9-D8EAE5E4A832}"/>
          </ac:spMkLst>
        </pc:spChg>
      </pc:sldChg>
      <pc:sldChg chg="add">
        <pc:chgData name="brtavares@haoc.com.br" userId="S::urn:spo:guest#brtavares@haoc.com.br::" providerId="AD" clId="Web-{57524BE1-4283-531A-ED81-6EC2A3F29422}" dt="2026-02-18T13:36:03.512" v="0"/>
        <pc:sldMkLst>
          <pc:docMk/>
          <pc:sldMk cId="554571247" sldId="2147470567"/>
        </pc:sldMkLst>
      </pc:sldChg>
      <pc:sldChg chg="add">
        <pc:chgData name="brtavares@haoc.com.br" userId="S::urn:spo:guest#brtavares@haoc.com.br::" providerId="AD" clId="Web-{57524BE1-4283-531A-ED81-6EC2A3F29422}" dt="2026-02-18T13:36:04.044" v="1"/>
        <pc:sldMkLst>
          <pc:docMk/>
          <pc:sldMk cId="1770960882" sldId="2147470568"/>
        </pc:sldMkLst>
      </pc:sldChg>
      <pc:sldChg chg="add">
        <pc:chgData name="brtavares@haoc.com.br" userId="S::urn:spo:guest#brtavares@haoc.com.br::" providerId="AD" clId="Web-{57524BE1-4283-531A-ED81-6EC2A3F29422}" dt="2026-02-18T13:36:04.544" v="2"/>
        <pc:sldMkLst>
          <pc:docMk/>
          <pc:sldMk cId="1174636496" sldId="2147470569"/>
        </pc:sldMkLst>
      </pc:sldChg>
      <pc:sldChg chg="add">
        <pc:chgData name="brtavares@haoc.com.br" userId="S::urn:spo:guest#brtavares@haoc.com.br::" providerId="AD" clId="Web-{57524BE1-4283-531A-ED81-6EC2A3F29422}" dt="2026-02-18T13:36:05.325" v="4"/>
        <pc:sldMkLst>
          <pc:docMk/>
          <pc:sldMk cId="35791191" sldId="2147470573"/>
        </pc:sldMkLst>
      </pc:sldChg>
      <pc:sldChg chg="add">
        <pc:chgData name="brtavares@haoc.com.br" userId="S::urn:spo:guest#brtavares@haoc.com.br::" providerId="AD" clId="Web-{57524BE1-4283-531A-ED81-6EC2A3F29422}" dt="2026-02-18T13:36:05.778" v="5"/>
        <pc:sldMkLst>
          <pc:docMk/>
          <pc:sldMk cId="64039251" sldId="2147470576"/>
        </pc:sldMkLst>
      </pc:sldChg>
      <pc:sldChg chg="add">
        <pc:chgData name="brtavares@haoc.com.br" userId="S::urn:spo:guest#brtavares@haoc.com.br::" providerId="AD" clId="Web-{57524BE1-4283-531A-ED81-6EC2A3F29422}" dt="2026-02-18T13:36:04.856" v="3"/>
        <pc:sldMkLst>
          <pc:docMk/>
          <pc:sldMk cId="745252366" sldId="2147470577"/>
        </pc:sldMkLst>
      </pc:sldChg>
      <pc:sldChg chg="add">
        <pc:chgData name="brtavares@haoc.com.br" userId="S::urn:spo:guest#brtavares@haoc.com.br::" providerId="AD" clId="Web-{57524BE1-4283-531A-ED81-6EC2A3F29422}" dt="2026-02-18T13:36:06.059" v="6"/>
        <pc:sldMkLst>
          <pc:docMk/>
          <pc:sldMk cId="1249030263" sldId="2147470578"/>
        </pc:sldMkLst>
      </pc:sldChg>
      <pc:sldChg chg="modSp add">
        <pc:chgData name="brtavares@haoc.com.br" userId="S::urn:spo:guest#brtavares@haoc.com.br::" providerId="AD" clId="Web-{57524BE1-4283-531A-ED81-6EC2A3F29422}" dt="2026-02-18T13:39:45.080" v="34" actId="1076"/>
        <pc:sldMkLst>
          <pc:docMk/>
          <pc:sldMk cId="2501134232" sldId="2147470580"/>
        </pc:sldMkLst>
        <pc:spChg chg="mod">
          <ac:chgData name="brtavares@haoc.com.br" userId="S::urn:spo:guest#brtavares@haoc.com.br::" providerId="AD" clId="Web-{57524BE1-4283-531A-ED81-6EC2A3F29422}" dt="2026-02-18T13:39:45.080" v="34" actId="1076"/>
          <ac:spMkLst>
            <pc:docMk/>
            <pc:sldMk cId="2501134232" sldId="2147470580"/>
            <ac:spMk id="62" creationId="{280F284B-5ED8-2506-F96B-F00AA30DCE94}"/>
          </ac:spMkLst>
        </pc:spChg>
      </pc:sldChg>
      <pc:sldChg chg="add">
        <pc:chgData name="brtavares@haoc.com.br" userId="S::urn:spo:guest#brtavares@haoc.com.br::" providerId="AD" clId="Web-{57524BE1-4283-531A-ED81-6EC2A3F29422}" dt="2026-02-18T14:18:04.003" v="35"/>
        <pc:sldMkLst>
          <pc:docMk/>
          <pc:sldMk cId="100289521" sldId="2147470581"/>
        </pc:sldMkLst>
      </pc:sldChg>
      <pc:sldChg chg="modSp add">
        <pc:chgData name="brtavares@haoc.com.br" userId="S::urn:spo:guest#brtavares@haoc.com.br::" providerId="AD" clId="Web-{57524BE1-4283-531A-ED81-6EC2A3F29422}" dt="2026-02-18T14:19:48.113" v="40" actId="20577"/>
        <pc:sldMkLst>
          <pc:docMk/>
          <pc:sldMk cId="2297912633" sldId="2147470582"/>
        </pc:sldMkLst>
        <pc:spChg chg="mod">
          <ac:chgData name="brtavares@haoc.com.br" userId="S::urn:spo:guest#brtavares@haoc.com.br::" providerId="AD" clId="Web-{57524BE1-4283-531A-ED81-6EC2A3F29422}" dt="2026-02-18T14:19:48.113" v="40" actId="20577"/>
          <ac:spMkLst>
            <pc:docMk/>
            <pc:sldMk cId="2297912633" sldId="2147470582"/>
            <ac:spMk id="62" creationId="{BFE6851A-5164-CC1D-A9F5-39BA03685DBC}"/>
          </ac:spMkLst>
        </pc:spChg>
      </pc:sldChg>
      <pc:sldChg chg="add">
        <pc:chgData name="brtavares@haoc.com.br" userId="S::urn:spo:guest#brtavares@haoc.com.br::" providerId="AD" clId="Web-{57524BE1-4283-531A-ED81-6EC2A3F29422}" dt="2026-02-18T14:21:43.037" v="41"/>
        <pc:sldMkLst>
          <pc:docMk/>
          <pc:sldMk cId="4004437519" sldId="2147470586"/>
        </pc:sldMkLst>
      </pc:sldChg>
      <pc:sldMasterChg chg="addSldLayout">
        <pc:chgData name="brtavares@haoc.com.br" userId="S::urn:spo:guest#brtavares@haoc.com.br::" providerId="AD" clId="Web-{57524BE1-4283-531A-ED81-6EC2A3F29422}" dt="2026-02-18T13:36:05.778" v="5"/>
        <pc:sldMasterMkLst>
          <pc:docMk/>
          <pc:sldMasterMk cId="4133048598" sldId="2147483661"/>
        </pc:sldMasterMkLst>
        <pc:sldLayoutChg chg="add">
          <pc:chgData name="brtavares@haoc.com.br" userId="S::urn:spo:guest#brtavares@haoc.com.br::" providerId="AD" clId="Web-{57524BE1-4283-531A-ED81-6EC2A3F29422}" dt="2026-02-18T13:36:05.778" v="5"/>
          <pc:sldLayoutMkLst>
            <pc:docMk/>
            <pc:sldMasterMk cId="4133048598" sldId="2147483661"/>
            <pc:sldLayoutMk cId="1805146871" sldId="2147483668"/>
          </pc:sldLayoutMkLst>
        </pc:sldLayoutChg>
      </pc:sldMasterChg>
    </pc:docChg>
  </pc:docChgLst>
  <pc:docChgLst>
    <pc:chgData name="brtavares@haoc.com.br" userId="S::urn:spo:guest#brtavares@haoc.com.br::" providerId="AD" clId="Web-{B5A9CB9E-2BC9-40D4-DE5C-4B3162464239}"/>
    <pc:docChg chg="addSld modSld">
      <pc:chgData name="brtavares@haoc.com.br" userId="S::urn:spo:guest#brtavares@haoc.com.br::" providerId="AD" clId="Web-{B5A9CB9E-2BC9-40D4-DE5C-4B3162464239}" dt="2026-03-12T18:14:52.361" v="436"/>
      <pc:docMkLst>
        <pc:docMk/>
      </pc:docMkLst>
      <pc:sldChg chg="delAnim">
        <pc:chgData name="brtavares@haoc.com.br" userId="S::urn:spo:guest#brtavares@haoc.com.br::" providerId="AD" clId="Web-{B5A9CB9E-2BC9-40D4-DE5C-4B3162464239}" dt="2026-03-12T18:08:17.918" v="413"/>
        <pc:sldMkLst>
          <pc:docMk/>
          <pc:sldMk cId="3477365876" sldId="2147470496"/>
        </pc:sldMkLst>
      </pc:sldChg>
      <pc:sldChg chg="delAnim">
        <pc:chgData name="brtavares@haoc.com.br" userId="S::urn:spo:guest#brtavares@haoc.com.br::" providerId="AD" clId="Web-{B5A9CB9E-2BC9-40D4-DE5C-4B3162464239}" dt="2026-03-12T18:10:17.654" v="417"/>
        <pc:sldMkLst>
          <pc:docMk/>
          <pc:sldMk cId="2450670423" sldId="2147470505"/>
        </pc:sldMkLst>
      </pc:sldChg>
      <pc:sldChg chg="delAnim">
        <pc:chgData name="brtavares@haoc.com.br" userId="S::urn:spo:guest#brtavares@haoc.com.br::" providerId="AD" clId="Web-{B5A9CB9E-2BC9-40D4-DE5C-4B3162464239}" dt="2026-03-12T18:10:47.857" v="421"/>
        <pc:sldMkLst>
          <pc:docMk/>
          <pc:sldMk cId="121683268" sldId="2147470507"/>
        </pc:sldMkLst>
      </pc:sldChg>
      <pc:sldChg chg="delAnim">
        <pc:chgData name="brtavares@haoc.com.br" userId="S::urn:spo:guest#brtavares@haoc.com.br::" providerId="AD" clId="Web-{B5A9CB9E-2BC9-40D4-DE5C-4B3162464239}" dt="2026-03-12T18:12:42.936" v="429"/>
        <pc:sldMkLst>
          <pc:docMk/>
          <pc:sldMk cId="1920200729" sldId="2147470528"/>
        </pc:sldMkLst>
      </pc:sldChg>
      <pc:sldChg chg="delAnim">
        <pc:chgData name="brtavares@haoc.com.br" userId="S::urn:spo:guest#brtavares@haoc.com.br::" providerId="AD" clId="Web-{B5A9CB9E-2BC9-40D4-DE5C-4B3162464239}" dt="2026-03-12T18:09:26.075" v="415"/>
        <pc:sldMkLst>
          <pc:docMk/>
          <pc:sldMk cId="393493414" sldId="2147470534"/>
        </pc:sldMkLst>
      </pc:sldChg>
      <pc:sldChg chg="addAnim delAnim modAnim">
        <pc:chgData name="brtavares@haoc.com.br" userId="S::urn:spo:guest#brtavares@haoc.com.br::" providerId="AD" clId="Web-{B5A9CB9E-2BC9-40D4-DE5C-4B3162464239}" dt="2026-03-12T18:12:07.030" v="427"/>
        <pc:sldMkLst>
          <pc:docMk/>
          <pc:sldMk cId="3344040674" sldId="2147470543"/>
        </pc:sldMkLst>
      </pc:sldChg>
      <pc:sldChg chg="delAnim">
        <pc:chgData name="brtavares@haoc.com.br" userId="S::urn:spo:guest#brtavares@haoc.com.br::" providerId="AD" clId="Web-{B5A9CB9E-2BC9-40D4-DE5C-4B3162464239}" dt="2026-03-12T18:14:23.578" v="432"/>
        <pc:sldMkLst>
          <pc:docMk/>
          <pc:sldMk cId="2569911629" sldId="2147470556"/>
        </pc:sldMkLst>
      </pc:sldChg>
      <pc:sldChg chg="delAnim">
        <pc:chgData name="brtavares@haoc.com.br" userId="S::urn:spo:guest#brtavares@haoc.com.br::" providerId="AD" clId="Web-{B5A9CB9E-2BC9-40D4-DE5C-4B3162464239}" dt="2026-03-12T18:14:38.282" v="434"/>
        <pc:sldMkLst>
          <pc:docMk/>
          <pc:sldMk cId="485089130" sldId="2147470558"/>
        </pc:sldMkLst>
      </pc:sldChg>
      <pc:sldChg chg="delAnim">
        <pc:chgData name="brtavares@haoc.com.br" userId="S::urn:spo:guest#brtavares@haoc.com.br::" providerId="AD" clId="Web-{B5A9CB9E-2BC9-40D4-DE5C-4B3162464239}" dt="2026-03-12T18:14:52.361" v="436"/>
        <pc:sldMkLst>
          <pc:docMk/>
          <pc:sldMk cId="1094828057" sldId="2147470563"/>
        </pc:sldMkLst>
      </pc:sldChg>
      <pc:sldChg chg="addSp delSp modSp addAnim delAnim">
        <pc:chgData name="brtavares@haoc.com.br" userId="S::urn:spo:guest#brtavares@haoc.com.br::" providerId="AD" clId="Web-{B5A9CB9E-2BC9-40D4-DE5C-4B3162464239}" dt="2026-03-12T17:53:16.201" v="319" actId="20577"/>
        <pc:sldMkLst>
          <pc:docMk/>
          <pc:sldMk cId="1174636496" sldId="2147470569"/>
        </pc:sldMkLst>
        <pc:spChg chg="mod">
          <ac:chgData name="brtavares@haoc.com.br" userId="S::urn:spo:guest#brtavares@haoc.com.br::" providerId="AD" clId="Web-{B5A9CB9E-2BC9-40D4-DE5C-4B3162464239}" dt="2026-03-12T17:53:16.201" v="319" actId="20577"/>
          <ac:spMkLst>
            <pc:docMk/>
            <pc:sldMk cId="1174636496" sldId="2147470569"/>
            <ac:spMk id="2" creationId="{D374E2CE-D33F-E20F-1436-E6E31BE65705}"/>
          </ac:spMkLst>
        </pc:spChg>
        <pc:spChg chg="mod">
          <ac:chgData name="brtavares@haoc.com.br" userId="S::urn:spo:guest#brtavares@haoc.com.br::" providerId="AD" clId="Web-{B5A9CB9E-2BC9-40D4-DE5C-4B3162464239}" dt="2026-03-12T17:49:24.745" v="206" actId="1076"/>
          <ac:spMkLst>
            <pc:docMk/>
            <pc:sldMk cId="1174636496" sldId="2147470569"/>
            <ac:spMk id="6" creationId="{BB7CFC9C-538A-B263-5C01-82342917CEE2}"/>
          </ac:spMkLst>
        </pc:spChg>
        <pc:spChg chg="mod">
          <ac:chgData name="brtavares@haoc.com.br" userId="S::urn:spo:guest#brtavares@haoc.com.br::" providerId="AD" clId="Web-{B5A9CB9E-2BC9-40D4-DE5C-4B3162464239}" dt="2026-03-12T17:49:24.792" v="207" actId="1076"/>
          <ac:spMkLst>
            <pc:docMk/>
            <pc:sldMk cId="1174636496" sldId="2147470569"/>
            <ac:spMk id="7" creationId="{4C0BC16C-445E-FAC9-A85C-9E926965E9CC}"/>
          </ac:spMkLst>
        </pc:spChg>
        <pc:spChg chg="mod">
          <ac:chgData name="brtavares@haoc.com.br" userId="S::urn:spo:guest#brtavares@haoc.com.br::" providerId="AD" clId="Web-{B5A9CB9E-2BC9-40D4-DE5C-4B3162464239}" dt="2026-03-12T17:49:24.855" v="208" actId="1076"/>
          <ac:spMkLst>
            <pc:docMk/>
            <pc:sldMk cId="1174636496" sldId="2147470569"/>
            <ac:spMk id="9" creationId="{35170741-7BF9-FE03-1552-C0B2088898A7}"/>
          </ac:spMkLst>
        </pc:spChg>
        <pc:spChg chg="mod">
          <ac:chgData name="brtavares@haoc.com.br" userId="S::urn:spo:guest#brtavares@haoc.com.br::" providerId="AD" clId="Web-{B5A9CB9E-2BC9-40D4-DE5C-4B3162464239}" dt="2026-03-12T17:49:24.901" v="209" actId="1076"/>
          <ac:spMkLst>
            <pc:docMk/>
            <pc:sldMk cId="1174636496" sldId="2147470569"/>
            <ac:spMk id="11" creationId="{C9D71E3F-EE08-4E45-75A9-19E2773294E2}"/>
          </ac:spMkLst>
        </pc:spChg>
        <pc:spChg chg="mod">
          <ac:chgData name="brtavares@haoc.com.br" userId="S::urn:spo:guest#brtavares@haoc.com.br::" providerId="AD" clId="Web-{B5A9CB9E-2BC9-40D4-DE5C-4B3162464239}" dt="2026-03-12T17:49:24.948" v="210" actId="1076"/>
          <ac:spMkLst>
            <pc:docMk/>
            <pc:sldMk cId="1174636496" sldId="2147470569"/>
            <ac:spMk id="14" creationId="{E618129A-746B-136E-06F5-4B9B813BCCE9}"/>
          </ac:spMkLst>
        </pc:spChg>
        <pc:spChg chg="mod">
          <ac:chgData name="brtavares@haoc.com.br" userId="S::urn:spo:guest#brtavares@haoc.com.br::" providerId="AD" clId="Web-{B5A9CB9E-2BC9-40D4-DE5C-4B3162464239}" dt="2026-03-12T17:49:24.323" v="196" actId="1076"/>
          <ac:spMkLst>
            <pc:docMk/>
            <pc:sldMk cId="1174636496" sldId="2147470569"/>
            <ac:spMk id="33" creationId="{1DBD6F51-FBE5-C735-F40E-8BF4268DEA87}"/>
          </ac:spMkLst>
        </pc:spChg>
        <pc:spChg chg="mod">
          <ac:chgData name="brtavares@haoc.com.br" userId="S::urn:spo:guest#brtavares@haoc.com.br::" providerId="AD" clId="Web-{B5A9CB9E-2BC9-40D4-DE5C-4B3162464239}" dt="2026-03-12T17:49:24.354" v="197" actId="1076"/>
          <ac:spMkLst>
            <pc:docMk/>
            <pc:sldMk cId="1174636496" sldId="2147470569"/>
            <ac:spMk id="34" creationId="{EE10865E-0839-E296-F27C-2D24445EC90F}"/>
          </ac:spMkLst>
        </pc:spChg>
        <pc:spChg chg="mod">
          <ac:chgData name="brtavares@haoc.com.br" userId="S::urn:spo:guest#brtavares@haoc.com.br::" providerId="AD" clId="Web-{B5A9CB9E-2BC9-40D4-DE5C-4B3162464239}" dt="2026-03-12T17:49:24.386" v="198" actId="1076"/>
          <ac:spMkLst>
            <pc:docMk/>
            <pc:sldMk cId="1174636496" sldId="2147470569"/>
            <ac:spMk id="35" creationId="{6303B699-8504-17FA-0A48-108473168354}"/>
          </ac:spMkLst>
        </pc:spChg>
        <pc:spChg chg="mod">
          <ac:chgData name="brtavares@haoc.com.br" userId="S::urn:spo:guest#brtavares@haoc.com.br::" providerId="AD" clId="Web-{B5A9CB9E-2BC9-40D4-DE5C-4B3162464239}" dt="2026-03-12T17:49:24.573" v="202" actId="1076"/>
          <ac:spMkLst>
            <pc:docMk/>
            <pc:sldMk cId="1174636496" sldId="2147470569"/>
            <ac:spMk id="1035" creationId="{E9638A43-F777-9D4B-C1EF-58DEB5926201}"/>
          </ac:spMkLst>
        </pc:spChg>
        <pc:spChg chg="mod">
          <ac:chgData name="brtavares@haoc.com.br" userId="S::urn:spo:guest#brtavares@haoc.com.br::" providerId="AD" clId="Web-{B5A9CB9E-2BC9-40D4-DE5C-4B3162464239}" dt="2026-03-12T17:49:24.605" v="203" actId="1076"/>
          <ac:spMkLst>
            <pc:docMk/>
            <pc:sldMk cId="1174636496" sldId="2147470569"/>
            <ac:spMk id="1036" creationId="{852C8FD0-8A55-24CD-6C98-A65582FC84C3}"/>
          </ac:spMkLst>
        </pc:spChg>
        <pc:spChg chg="mod">
          <ac:chgData name="brtavares@haoc.com.br" userId="S::urn:spo:guest#brtavares@haoc.com.br::" providerId="AD" clId="Web-{B5A9CB9E-2BC9-40D4-DE5C-4B3162464239}" dt="2026-03-12T17:43:57.298" v="0" actId="14100"/>
          <ac:spMkLst>
            <pc:docMk/>
            <pc:sldMk cId="1174636496" sldId="2147470569"/>
            <ac:spMk id="1041" creationId="{DFF87E2E-5626-0D35-B768-DB2B01543CDD}"/>
          </ac:spMkLst>
        </pc:spChg>
        <pc:graphicFrameChg chg="mod">
          <ac:chgData name="brtavares@haoc.com.br" userId="S::urn:spo:guest#brtavares@haoc.com.br::" providerId="AD" clId="Web-{B5A9CB9E-2BC9-40D4-DE5C-4B3162464239}" dt="2026-03-12T17:49:24.417" v="199" actId="1076"/>
          <ac:graphicFrameMkLst>
            <pc:docMk/>
            <pc:sldMk cId="1174636496" sldId="2147470569"/>
            <ac:graphicFrameMk id="42" creationId="{DDBBFB7F-A98A-B5A9-8C2B-6A03C7CE5904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24.464" v="200" actId="1076"/>
          <ac:graphicFrameMkLst>
            <pc:docMk/>
            <pc:sldMk cId="1174636496" sldId="2147470569"/>
            <ac:graphicFrameMk id="51" creationId="{195D1715-1CEE-0EA6-F18B-9A7DDD5F66D1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24.495" v="201" actId="1076"/>
          <ac:graphicFrameMkLst>
            <pc:docMk/>
            <pc:sldMk cId="1174636496" sldId="2147470569"/>
            <ac:graphicFrameMk id="52" creationId="{37E824F1-54EA-98C4-3946-BA66FB94D277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24.651" v="204" actId="1076"/>
          <ac:graphicFrameMkLst>
            <pc:docMk/>
            <pc:sldMk cId="1174636496" sldId="2147470569"/>
            <ac:graphicFrameMk id="1038" creationId="{24BDE4DB-571C-B2A9-A9C8-D206AF8E014B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24.698" v="205" actId="1076"/>
          <ac:graphicFrameMkLst>
            <pc:docMk/>
            <pc:sldMk cId="1174636496" sldId="2147470569"/>
            <ac:graphicFrameMk id="1039" creationId="{01715B23-0266-C264-77D8-4C647A27896F}"/>
          </ac:graphicFrameMkLst>
        </pc:graphicFrameChg>
      </pc:sldChg>
      <pc:sldChg chg="addSp delSp modSp">
        <pc:chgData name="brtavares@haoc.com.br" userId="S::urn:spo:guest#brtavares@haoc.com.br::" providerId="AD" clId="Web-{B5A9CB9E-2BC9-40D4-DE5C-4B3162464239}" dt="2026-03-12T17:49:16.557" v="195" actId="1076"/>
        <pc:sldMkLst>
          <pc:docMk/>
          <pc:sldMk cId="35791191" sldId="2147470573"/>
        </pc:sldMkLst>
        <pc:spChg chg="add mod">
          <ac:chgData name="brtavares@haoc.com.br" userId="S::urn:spo:guest#brtavares@haoc.com.br::" providerId="AD" clId="Web-{B5A9CB9E-2BC9-40D4-DE5C-4B3162464239}" dt="2026-03-12T17:49:15.995" v="186" actId="1076"/>
          <ac:spMkLst>
            <pc:docMk/>
            <pc:sldMk cId="35791191" sldId="2147470573"/>
            <ac:spMk id="127" creationId="{3323372D-2DB5-53C1-23EA-8F79665FCFA3}"/>
          </ac:spMkLst>
        </pc:spChg>
        <pc:spChg chg="add mod">
          <ac:chgData name="brtavares@haoc.com.br" userId="S::urn:spo:guest#brtavares@haoc.com.br::" providerId="AD" clId="Web-{B5A9CB9E-2BC9-40D4-DE5C-4B3162464239}" dt="2026-03-12T17:49:16.042" v="187" actId="1076"/>
          <ac:spMkLst>
            <pc:docMk/>
            <pc:sldMk cId="35791191" sldId="2147470573"/>
            <ac:spMk id="1025" creationId="{BA6FBD21-E1C0-6EDB-5DB3-35326C5B1BF3}"/>
          </ac:spMkLst>
        </pc:spChg>
        <pc:spChg chg="add mod">
          <ac:chgData name="brtavares@haoc.com.br" userId="S::urn:spo:guest#brtavares@haoc.com.br::" providerId="AD" clId="Web-{B5A9CB9E-2BC9-40D4-DE5C-4B3162464239}" dt="2026-03-12T17:49:16.167" v="188" actId="1076"/>
          <ac:spMkLst>
            <pc:docMk/>
            <pc:sldMk cId="35791191" sldId="2147470573"/>
            <ac:spMk id="1027" creationId="{BF7D96AB-E596-6767-C35F-E2E7E24355B1}"/>
          </ac:spMkLst>
        </pc:spChg>
        <pc:spChg chg="add mod">
          <ac:chgData name="brtavares@haoc.com.br" userId="S::urn:spo:guest#brtavares@haoc.com.br::" providerId="AD" clId="Web-{B5A9CB9E-2BC9-40D4-DE5C-4B3162464239}" dt="2026-03-12T17:49:16.229" v="189" actId="1076"/>
          <ac:spMkLst>
            <pc:docMk/>
            <pc:sldMk cId="35791191" sldId="2147470573"/>
            <ac:spMk id="1029" creationId="{90A61856-303E-F3E3-8E36-A5EEBD513C8C}"/>
          </ac:spMkLst>
        </pc:spChg>
        <pc:spChg chg="add mod">
          <ac:chgData name="brtavares@haoc.com.br" userId="S::urn:spo:guest#brtavares@haoc.com.br::" providerId="AD" clId="Web-{B5A9CB9E-2BC9-40D4-DE5C-4B3162464239}" dt="2026-03-12T17:49:16.276" v="190" actId="1076"/>
          <ac:spMkLst>
            <pc:docMk/>
            <pc:sldMk cId="35791191" sldId="2147470573"/>
            <ac:spMk id="1031" creationId="{4C31B3C8-65D5-4BFB-9554-B17CC331C917}"/>
          </ac:spMkLst>
        </pc:spChg>
        <pc:spChg chg="add mod">
          <ac:chgData name="brtavares@haoc.com.br" userId="S::urn:spo:guest#brtavares@haoc.com.br::" providerId="AD" clId="Web-{B5A9CB9E-2BC9-40D4-DE5C-4B3162464239}" dt="2026-03-12T17:49:16.339" v="191" actId="1076"/>
          <ac:spMkLst>
            <pc:docMk/>
            <pc:sldMk cId="35791191" sldId="2147470573"/>
            <ac:spMk id="1033" creationId="{FEF7DE96-6E9B-62BB-AFAE-E548D0705F5D}"/>
          </ac:spMkLst>
        </pc:spChg>
        <pc:spChg chg="add mod">
          <ac:chgData name="brtavares@haoc.com.br" userId="S::urn:spo:guest#brtavares@haoc.com.br::" providerId="AD" clId="Web-{B5A9CB9E-2BC9-40D4-DE5C-4B3162464239}" dt="2026-03-12T17:49:16.386" v="192" actId="1076"/>
          <ac:spMkLst>
            <pc:docMk/>
            <pc:sldMk cId="35791191" sldId="2147470573"/>
            <ac:spMk id="1037" creationId="{16E9FEE7-1B00-3FCA-F9AE-4398AC918132}"/>
          </ac:spMkLst>
        </pc:spChg>
        <pc:spChg chg="add mod">
          <ac:chgData name="brtavares@haoc.com.br" userId="S::urn:spo:guest#brtavares@haoc.com.br::" providerId="AD" clId="Web-{B5A9CB9E-2BC9-40D4-DE5C-4B3162464239}" dt="2026-03-12T17:49:16.448" v="193" actId="1076"/>
          <ac:spMkLst>
            <pc:docMk/>
            <pc:sldMk cId="35791191" sldId="2147470573"/>
            <ac:spMk id="1039" creationId="{A634AD16-4362-B98C-4F30-D43355F7D81A}"/>
          </ac:spMkLst>
        </pc:spChg>
        <pc:spChg chg="add mod">
          <ac:chgData name="brtavares@haoc.com.br" userId="S::urn:spo:guest#brtavares@haoc.com.br::" providerId="AD" clId="Web-{B5A9CB9E-2BC9-40D4-DE5C-4B3162464239}" dt="2026-03-12T17:49:16.495" v="194" actId="1076"/>
          <ac:spMkLst>
            <pc:docMk/>
            <pc:sldMk cId="35791191" sldId="2147470573"/>
            <ac:spMk id="1042" creationId="{9BA789B5-ED4F-D2A6-CA2A-AE70B4DFFA55}"/>
          </ac:spMkLst>
        </pc:spChg>
        <pc:spChg chg="add mod">
          <ac:chgData name="brtavares@haoc.com.br" userId="S::urn:spo:guest#brtavares@haoc.com.br::" providerId="AD" clId="Web-{B5A9CB9E-2BC9-40D4-DE5C-4B3162464239}" dt="2026-03-12T17:49:16.557" v="195" actId="1076"/>
          <ac:spMkLst>
            <pc:docMk/>
            <pc:sldMk cId="35791191" sldId="2147470573"/>
            <ac:spMk id="1044" creationId="{74475B11-574E-73B9-3BC6-A684A7A80372}"/>
          </ac:spMkLst>
        </pc:spChg>
        <pc:graphicFrameChg chg="mod">
          <ac:chgData name="brtavares@haoc.com.br" userId="S::urn:spo:guest#brtavares@haoc.com.br::" providerId="AD" clId="Web-{B5A9CB9E-2BC9-40D4-DE5C-4B3162464239}" dt="2026-03-12T17:49:15.479" v="176" actId="1076"/>
          <ac:graphicFrameMkLst>
            <pc:docMk/>
            <pc:sldMk cId="35791191" sldId="2147470573"/>
            <ac:graphicFrameMk id="6" creationId="{6BE1E388-BAD9-97D9-66B5-5262436908FC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682" v="180" actId="1076"/>
          <ac:graphicFrameMkLst>
            <pc:docMk/>
            <pc:sldMk cId="35791191" sldId="2147470573"/>
            <ac:graphicFrameMk id="7" creationId="{719607DA-0147-738D-8EB1-FEA780467527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729" v="181" actId="1076"/>
          <ac:graphicFrameMkLst>
            <pc:docMk/>
            <pc:sldMk cId="35791191" sldId="2147470573"/>
            <ac:graphicFrameMk id="9" creationId="{B5F523D3-A80B-AF1B-FFE9-8CF22E53F35F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792" v="182" actId="1076"/>
          <ac:graphicFrameMkLst>
            <pc:docMk/>
            <pc:sldMk cId="35791191" sldId="2147470573"/>
            <ac:graphicFrameMk id="11" creationId="{874269E3-04FA-21DA-62DF-7B366BCCF3C7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839" v="183" actId="1076"/>
          <ac:graphicFrameMkLst>
            <pc:docMk/>
            <pc:sldMk cId="35791191" sldId="2147470573"/>
            <ac:graphicFrameMk id="14" creationId="{FF0274AA-93E9-B55C-9D62-FA44931D9E48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526" v="177" actId="1076"/>
          <ac:graphicFrameMkLst>
            <pc:docMk/>
            <pc:sldMk cId="35791191" sldId="2147470573"/>
            <ac:graphicFrameMk id="15" creationId="{25CF19E9-66FE-DE20-42F8-7405214D2B8F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901" v="184" actId="1076"/>
          <ac:graphicFrameMkLst>
            <pc:docMk/>
            <pc:sldMk cId="35791191" sldId="2147470573"/>
            <ac:graphicFrameMk id="17" creationId="{A0F850A0-A729-A939-4430-1F1EB2C87694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573" v="178" actId="1076"/>
          <ac:graphicFrameMkLst>
            <pc:docMk/>
            <pc:sldMk cId="35791191" sldId="2147470573"/>
            <ac:graphicFrameMk id="18" creationId="{29706F5D-F460-83A8-C876-6058DD24E189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620" v="179" actId="1076"/>
          <ac:graphicFrameMkLst>
            <pc:docMk/>
            <pc:sldMk cId="35791191" sldId="2147470573"/>
            <ac:graphicFrameMk id="21" creationId="{553993D5-4104-DF05-4C16-576F934C6649}"/>
          </ac:graphicFrameMkLst>
        </pc:graphicFrameChg>
        <pc:graphicFrameChg chg="mod">
          <ac:chgData name="brtavares@haoc.com.br" userId="S::urn:spo:guest#brtavares@haoc.com.br::" providerId="AD" clId="Web-{B5A9CB9E-2BC9-40D4-DE5C-4B3162464239}" dt="2026-03-12T17:49:15.948" v="185" actId="1076"/>
          <ac:graphicFrameMkLst>
            <pc:docMk/>
            <pc:sldMk cId="35791191" sldId="2147470573"/>
            <ac:graphicFrameMk id="22" creationId="{14455C3F-85FF-ED9D-338A-DD7790C3D2E7}"/>
          </ac:graphicFrameMkLst>
        </pc:graphicFrameChg>
      </pc:sldChg>
      <pc:sldChg chg="addSp delSp modSp">
        <pc:chgData name="brtavares@haoc.com.br" userId="S::urn:spo:guest#brtavares@haoc.com.br::" providerId="AD" clId="Web-{B5A9CB9E-2BC9-40D4-DE5C-4B3162464239}" dt="2026-03-12T17:54:14.858" v="380"/>
        <pc:sldMkLst>
          <pc:docMk/>
          <pc:sldMk cId="745252366" sldId="2147470577"/>
        </pc:sldMkLst>
        <pc:spChg chg="mod">
          <ac:chgData name="brtavares@haoc.com.br" userId="S::urn:spo:guest#brtavares@haoc.com.br::" providerId="AD" clId="Web-{B5A9CB9E-2BC9-40D4-DE5C-4B3162464239}" dt="2026-03-12T17:53:32.217" v="334" actId="20577"/>
          <ac:spMkLst>
            <pc:docMk/>
            <pc:sldMk cId="745252366" sldId="2147470577"/>
            <ac:spMk id="46" creationId="{288DBC2F-37B4-E14B-CD75-EB53AE9907BC}"/>
          </ac:spMkLst>
        </pc:spChg>
      </pc:sldChg>
      <pc:sldChg chg="modSp">
        <pc:chgData name="brtavares@haoc.com.br" userId="S::urn:spo:guest#brtavares@haoc.com.br::" providerId="AD" clId="Web-{B5A9CB9E-2BC9-40D4-DE5C-4B3162464239}" dt="2026-03-12T18:03:27.365" v="410" actId="20577"/>
        <pc:sldMkLst>
          <pc:docMk/>
          <pc:sldMk cId="1249030263" sldId="2147470578"/>
        </pc:sldMkLst>
        <pc:spChg chg="mod">
          <ac:chgData name="brtavares@haoc.com.br" userId="S::urn:spo:guest#brtavares@haoc.com.br::" providerId="AD" clId="Web-{B5A9CB9E-2BC9-40D4-DE5C-4B3162464239}" dt="2026-03-12T18:03:27.365" v="410" actId="20577"/>
          <ac:spMkLst>
            <pc:docMk/>
            <pc:sldMk cId="1249030263" sldId="2147470578"/>
            <ac:spMk id="95" creationId="{B19D79D7-2105-7231-DB8D-1DACDBBA8169}"/>
          </ac:spMkLst>
        </pc:spChg>
      </pc:sldChg>
      <pc:sldChg chg="addSp delSp modSp add replId">
        <pc:chgData name="brtavares@haoc.com.br" userId="S::urn:spo:guest#brtavares@haoc.com.br::" providerId="AD" clId="Web-{B5A9CB9E-2BC9-40D4-DE5C-4B3162464239}" dt="2026-03-12T17:54:04.733" v="336"/>
        <pc:sldMkLst>
          <pc:docMk/>
          <pc:sldMk cId="2373872529" sldId="2147470587"/>
        </pc:sldMkLst>
        <pc:spChg chg="add">
          <ac:chgData name="brtavares@haoc.com.br" userId="S::urn:spo:guest#brtavares@haoc.com.br::" providerId="AD" clId="Web-{B5A9CB9E-2BC9-40D4-DE5C-4B3162464239}" dt="2026-03-12T17:54:04.733" v="336"/>
          <ac:spMkLst>
            <pc:docMk/>
            <pc:sldMk cId="2373872529" sldId="2147470587"/>
            <ac:spMk id="17" creationId="{5A140D46-F28E-5F95-E172-B09D2522208B}"/>
          </ac:spMkLst>
        </pc:spChg>
      </pc:sldChg>
    </pc:docChg>
  </pc:docChgLst>
  <pc:docChgLst>
    <pc:chgData name="brtavares@haoc.com.br" userId="S::urn:spo:guest#brtavares@haoc.com.br::" providerId="AD" clId="Web-{814D8625-310E-9BE6-7118-C28776D03E91}"/>
    <pc:docChg chg="modSld">
      <pc:chgData name="brtavares@haoc.com.br" userId="S::urn:spo:guest#brtavares@haoc.com.br::" providerId="AD" clId="Web-{814D8625-310E-9BE6-7118-C28776D03E91}" dt="2026-03-16T17:33:04.625" v="15"/>
      <pc:docMkLst>
        <pc:docMk/>
      </pc:docMkLst>
      <pc:sldChg chg="modSp">
        <pc:chgData name="brtavares@haoc.com.br" userId="S::urn:spo:guest#brtavares@haoc.com.br::" providerId="AD" clId="Web-{814D8625-310E-9BE6-7118-C28776D03E91}" dt="2026-03-16T17:33:04.625" v="15"/>
        <pc:sldMkLst>
          <pc:docMk/>
          <pc:sldMk cId="2373872529" sldId="2147470587"/>
        </pc:sldMkLst>
        <pc:graphicFrameChg chg="mod modGraphic">
          <ac:chgData name="brtavares@haoc.com.br" userId="S::urn:spo:guest#brtavares@haoc.com.br::" providerId="AD" clId="Web-{814D8625-310E-9BE6-7118-C28776D03E91}" dt="2026-03-16T17:33:04.625" v="15"/>
          <ac:graphicFrameMkLst>
            <pc:docMk/>
            <pc:sldMk cId="2373872529" sldId="2147470587"/>
            <ac:graphicFrameMk id="15" creationId="{C2F94A55-B4AC-D759-AA3B-475228C6F66C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3DB84B-64F8-4189-BB0A-1B1ECADC68C7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194B8E-C2BB-43C4-A076-4486DFA3331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521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DA4A6D-A7CA-1C57-67FB-F249FC3942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0FA474-A83A-5585-486F-0E4556171E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FE15DE-4DE1-60EE-CD02-39CB600BBA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8EE00-7FCE-2C7C-455F-35C07348EF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51168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EB0BD-28C2-8FA0-C0A3-73E0D3202C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942C7A-4CB3-F7EE-B233-AA3764770A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9F2721-18FD-230F-764A-E86C753F38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EC0B57-56A6-D595-901A-539E3C968E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728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DF8811-9E3F-A35D-119D-EA2B5B31C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C08ACB-CDB7-A515-514C-24DBC3C133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8B4766-0C55-B557-6E8A-0E6F49C685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4D62F7-5D4F-6012-3DB6-6991FAE2AD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9853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815470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81D73-598C-3815-C887-F43F7A139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702DE7-CF0E-7208-0E49-1341B4393C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FF749F-23D9-669A-9514-8E76E524D8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031AFB-3E73-FA87-E5FE-1EA3ADDC37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2268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2BA3B-A1A7-02B7-0AAB-BE6FC8BB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6CBFB-46A1-9573-9687-F84DAE14D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23B08-F91B-2C24-B53F-426F1145D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25C20-8C3A-EEBD-B2BA-0FD4DDF921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64743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2BA3B-A1A7-02B7-0AAB-BE6FC8BB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6CBFB-46A1-9573-9687-F84DAE14D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23B08-F91B-2C24-B53F-426F1145D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25C20-8C3A-EEBD-B2BA-0FD4DDF921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508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2BA3B-A1A7-02B7-0AAB-BE6FC8BB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6CBFB-46A1-9573-9687-F84DAE14D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23B08-F91B-2C24-B53F-426F1145D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25C20-8C3A-EEBD-B2BA-0FD4DDF921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52301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B85781-0F5C-9582-2F71-9C8BD0EB5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8E89C6-B543-783A-35A3-074EFB5FF2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B102CA-9F8E-143A-ECE0-375BB4B8D1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421EB-8147-0541-B069-C964152384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52348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38762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C45C6-9393-1CD5-AE06-6E27DA7CCA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742692-8A00-6A40-02BC-45F95E1A92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600E35-1B2F-F6D0-3E68-DD6128B5AA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82DB5-EDC4-0B92-59A0-4034C97AA3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401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94763-4294-DC8F-13D5-4A441FE2C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9BFDFC-BB7A-7D3D-CAD9-C94D28E4B8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1D8C07-2A18-A4E6-C5D5-73CA32909B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3157A-F57B-603A-048C-049867A82E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30764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1B782-AD63-ED8B-E686-6F4F86E52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A40A37-1058-93C7-EB1F-DD7875B370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D8A7F7-B09D-DC3F-B11B-A9D5E407D3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194C5F-A26A-27AA-2F88-1F7F36A949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30960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79786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1B782-AD63-ED8B-E686-6F4F86E52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A40A37-1058-93C7-EB1F-DD7875B370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D8A7F7-B09D-DC3F-B11B-A9D5E407D3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194C5F-A26A-27AA-2F88-1F7F36A949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7863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AA6827-6F9D-7755-A760-FC6015356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57AC96A-0FC5-2623-8703-56C3BFF096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5DAE5A-94BD-17B0-4ECB-DB12DFBF9D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34B60A-158A-63DE-4BFD-77B6C64A26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35837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33073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213637-B2E7-DE9E-3F09-B4EA96C75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028834-1425-E530-31E0-E342CB8BA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BEB050-F2FE-67FA-4C3E-9E6C2F914B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AEA93F-9F46-4270-F368-5EC526F554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63081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2BA3B-A1A7-02B7-0AAB-BE6FC8BB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6CBFB-46A1-9573-9687-F84DAE14D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23B08-F91B-2C24-B53F-426F1145D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25C20-8C3A-EEBD-B2BA-0FD4DDF921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00058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05EB31-02D9-883E-411A-81A9C1C2D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437CA-C2A5-49EE-B459-749F3D3CBC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A451E8-6B2A-E3E5-1A97-BA9D73A217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96445-54DC-2F57-35DE-404122E5A7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67989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2BA3B-A1A7-02B7-0AAB-BE6FC8BB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6CBFB-46A1-9573-9687-F84DAE14D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23B08-F91B-2C24-B53F-426F1145D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25C20-8C3A-EEBD-B2BA-0FD4DDF921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77732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2760C-8045-5440-D6CD-2D1DEF9857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79E6BB-5969-2F72-72A3-E07AC2F599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93D963-B08B-6B92-A8D2-56D8569C52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349A5B-824C-A1E6-2583-FB969E9B74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1648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C968A-12CD-1BA8-D8D4-19F263D10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BC1D35-5C7A-E308-24A7-A9A52158F4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4D11E6-A9D6-5DD1-F7E5-5FD25AA401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98AF8B-C48B-F37B-EC62-84A6A700B4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8688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CD91E-7E03-25C1-9277-57EC8C9C25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024444-E841-C07C-1231-C32121FA9E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3A059E-B112-7FCE-CFEB-92838302EE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49153-80D0-EA21-E890-07082E4B8A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52770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2A03C-E56F-3DA7-85C1-801AA047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1A1ABC-DDB1-FBEA-F477-B031D3EC42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1DB527-C97F-026B-4813-02CBFE15F5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2C5B3C-E9FB-4AA1-0CD6-5F1AA463C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145437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791E8-24A1-5219-D7E2-D015E23AC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859721-A81B-D63F-0CC7-0CD3D88011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EB5F92-2E45-829B-4F5B-CA9A7103FF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5829D8-493C-7097-356A-39C1BBD93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98057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635AF9-8A44-D9AF-37D4-5FEAA95A7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EEC19F-B5AA-F30F-E499-7E0977A698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56B084-BED5-D258-FB17-814762F627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97E450-F45B-43F6-387C-1933646EAD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451888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847E7-053F-4C99-C9EE-269FFB44B6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64959-0948-BF4D-AF54-9C2E60E93F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71C0AD-EE41-8E5C-CADF-538CA28A15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F1B69C-E8B6-6760-036B-FF99C4D865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11148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046A2-8971-932D-24F5-8E6B7B28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FA930B-4BF7-7BAC-B8A4-E862DA5BB5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4CF7D0-A60A-8DA3-5175-0AEBF9827D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C3BEE5-FC78-814B-5847-D4636704E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77309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9CD8B-B8AA-9636-BA80-723AF52A4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9DB5A0-4176-438F-E894-3DE4881A06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EA84BD-D821-1B12-0114-2664041A72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8B27E5-8C08-502C-26DD-414CF6D85C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42603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FA71C-CB0D-9B2F-1606-8ADC4EACA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9888C0-6C63-5CE8-499E-D5DEB3A5A4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817614-DDDF-198B-0298-F3ABA80647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9E992-6CBB-3F49-71F2-C1075B94D1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607780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1A238-3069-9FAD-97CE-4EEC996B7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6F40D7-7291-294A-1524-37344B9BB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AD093B-0C2B-76D4-EDA6-C51C15113A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8F49F6-4A4D-5307-72E0-A2579307B4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3626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B659A-4D54-0CBF-A610-828C3B69A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7EC470-EC62-66C1-B616-D1B5196C8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79A63C-9B97-C268-BD7F-016C150C73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724E9C-3E91-422B-0C64-21053D7CA9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4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5697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FD849-3514-442A-DB0B-D44BCC77B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000A94-83EE-0C7E-9705-CFE66EBC43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441F68-5A1C-6B78-3122-7362BC2AB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088B9-75F3-3FAE-14A7-3CB072471B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3492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13B3E4-0C33-BB2C-80D6-EFD0B3EC69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6C40EF-A211-1F7F-D834-AC17EAD73A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2791EE-2701-A22D-7A85-0DC197EACE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6645C-AAFF-8279-31DD-0BC492573C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634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05849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11445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6C404-5EA1-CF75-22F0-8D3518E14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4AC35C-A62A-3D18-719F-1200BCE6A5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913C5E-14E2-70EB-BE6A-52F272E158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ED1A59-BC2F-5C7E-1320-09472349F5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3500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DFE13-ED47-045E-B6CA-3B562BA07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24B46F-3093-6D80-10A7-877DC71E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352B00-DE85-A473-91E6-412C37C2FD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02901-7014-BF26-A626-C24D49931F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1239D-2F14-4EE1-9743-D4563A36472A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9789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31BEC3-6BBC-3725-8A92-46BBBADDC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CD9B60C-4048-6437-4DE7-F6D830E77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01973B9-3BD3-C1B9-F696-AD68E9B17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C238F5A-9ADD-87C6-B0BF-15923039B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96A9346-2044-F730-E894-CB0DDB906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5069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28C411-2108-CAAC-F2FC-B25841D6F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5179F93-CE7D-D72C-C61F-B7274F479A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500126B-5422-AFB2-4085-6253710C7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750A8B-C268-D427-6591-49942B42B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D5A385-38F7-2614-8840-52B491BAC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4227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D8CADDF-7EDA-9BF5-E5DF-F913C6524D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E7D9A2F-E369-0D6C-C1E4-A0E5FE3FD3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F5650F-6CE9-5C3E-2422-4B01A5870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1FB3ED-56AC-1BB4-49A6-86EBFEC3A9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C04BACB-9A60-3D35-2927-46769D0FA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6763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5CD3BB-5BCC-5F30-5EC7-595E38B16A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772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5CD3BB-5BCC-5F30-5EC7-595E38B16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4412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5CD3BB-5BCC-5F30-5EC7-595E38B16A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772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5CD3BB-5BCC-5F30-5EC7-595E38B16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3412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68196CB-7F77-920A-E9F7-9AF2D9DA0F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739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8196CB-7F77-920A-E9F7-9AF2D9DA0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9842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F3C9E7-E9A3-883E-CD78-03B926666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55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F3C9E7-E9A3-883E-CD78-03B926666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687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bg>
      <p:bgPr>
        <a:solidFill>
          <a:srgbClr val="EE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25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484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E09C7-5160-4016-A243-841F46400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81CB73-E48D-4FC1-AF95-5963464CA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00574-28AB-45F2-BFC7-08F4B4F79089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50A29A-338C-4A50-883E-B8805C85D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EA9CF8-C652-44BA-A7EC-58FB94051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AADFC5-D50B-4724-ADA9-8C6D2725314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83255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5CD3BB-5BCC-5F30-5EC7-595E38B16A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5CD3BB-5BCC-5F30-5EC7-595E38B16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5146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19EE4A-8F28-8345-881F-4941327D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52BEA1C-8F85-5B5F-0257-6B36683F2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762139-9703-1D34-75E3-B29060AA2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3D06FF-6B2C-99EF-4960-1CFA62095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7DF61F-ADF7-01AC-1E97-EB1DCDB3B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7022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C580C04-3A9A-0DB1-07A8-B0FD17498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5676B93-9FEF-1830-50F5-00D65D95D8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1213F95-13D2-E034-21A2-A94D840D3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69636-2A46-B8B5-3D64-90AE29511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D9EA934-18BC-F817-C137-A008CCF98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77634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7C372F-8382-CD74-3A1B-932E8E706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E2479EF-7F0C-9026-A1CF-CA4409DC60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C843E81-9178-8A6C-AE89-768F773F2C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B55313B-028E-03BD-DDC1-DF9DA0653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1C4619-A95F-83EC-BB6D-A3F98F6D1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87953CB-9136-612D-61B5-DD40BFDF8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2152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CF2583-83D3-A666-FFDD-5A402F524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BFAEAA9-90DA-7F62-D5A3-05DAAFBB6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75BE739-57E9-656E-7677-A275FB370A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4611310E-DB36-00D5-9D04-E918B27BD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8CE1FFFA-6669-9B69-F682-1EF8E51B67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4ED036BD-2EF0-0709-3CD0-59A1D2F17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D1E2DC52-8B8D-43B0-0A2D-D0615AD4F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13C91E0-F9D7-7614-0C73-0A825D3AD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704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32094B-5E89-59AD-1B53-BE1777A65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182591A-99BD-3BE8-F1DF-EC19779CD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A83A9E6-8C2C-321A-7E2A-C4EA7EC4D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ED130FC-F821-9E12-7075-5B4FBA2AD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1445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D7B2A633-EC4A-34DD-A1AA-9D94F4004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283C027-4B00-C17F-CE9B-9076ABDFB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EF66DB3-03AF-0DBA-C75A-8FA7DE076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6029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461A0F-9A22-AAD0-9110-D18C06A0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4E16D5C-479A-E05B-9FDD-65AB4BD49B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B61CED8-FC48-7E14-581D-37924CED53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29A39F5-F004-E403-F5FA-1ECF11B09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E1DB7F1-EAAD-385C-0816-989FAC010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B718E07-BA12-7C20-1CBD-F0D01375E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9595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606BC9-72B7-4FDB-6D0E-7D6C42297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61A4B98-9517-11D7-4B75-EEF23E52AB8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113586E-2737-226A-BB66-06B36FC616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03A3EBB-C5DE-2615-1AED-3BBACC872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DF80BA7-C496-04F6-9A3E-BD9FA75C25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212F6A9-503A-BB99-88D6-AA75A0A23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180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CB862BBF-A83E-217D-6D8B-66CAA50AB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4A1B52-FF3A-07AA-37BF-A33E205D5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600AF74-CC0E-7782-5D2F-C72D647AB0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F747A0D-BDC3-496D-9AF5-63BA2D0214E4}" type="datetimeFigureOut">
              <a:rPr lang="pt-BR" smtClean="0"/>
              <a:t>19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705434B-EEC4-6548-28D1-7144A5EEA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7A17730-C713-34A3-7A12-3A39152EB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A02B6B6-580F-4049-BB09-062982DD53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6120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7C2C864-45BD-A171-1E16-D27BE0787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80505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8" progId="TCLayout.ActiveDocument.1">
                  <p:embed/>
                </p:oleObj>
              </mc:Choice>
              <mc:Fallback>
                <p:oleObj name="think-cell Slide" r:id="rId10" imgW="306" imgH="3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2C864-45BD-A171-1E16-D27BE0787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6E640EE1-FBA4-E208-B239-6AC76EE079A8}"/>
              </a:ext>
            </a:extLst>
          </p:cNvPr>
          <p:cNvSpPr/>
          <p:nvPr userDrawn="1"/>
        </p:nvSpPr>
        <p:spPr>
          <a:xfrm>
            <a:off x="1168400" y="-787400"/>
            <a:ext cx="584200" cy="584200"/>
          </a:xfrm>
          <a:prstGeom prst="rect">
            <a:avLst/>
          </a:prstGeom>
          <a:solidFill>
            <a:srgbClr val="445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FDF260D-C4B1-53D8-445B-5C2EB8C4E599}"/>
              </a:ext>
            </a:extLst>
          </p:cNvPr>
          <p:cNvSpPr/>
          <p:nvPr userDrawn="1"/>
        </p:nvSpPr>
        <p:spPr>
          <a:xfrm>
            <a:off x="1896533" y="-787400"/>
            <a:ext cx="584200" cy="584200"/>
          </a:xfrm>
          <a:prstGeom prst="rect">
            <a:avLst/>
          </a:prstGeom>
          <a:solidFill>
            <a:srgbClr val="4930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1050C1-BA69-C637-BE7C-584E73892D8A}"/>
              </a:ext>
            </a:extLst>
          </p:cNvPr>
          <p:cNvSpPr/>
          <p:nvPr userDrawn="1"/>
        </p:nvSpPr>
        <p:spPr>
          <a:xfrm>
            <a:off x="2624666" y="-787400"/>
            <a:ext cx="584200" cy="584200"/>
          </a:xfrm>
          <a:prstGeom prst="rect">
            <a:avLst/>
          </a:prstGeom>
          <a:solidFill>
            <a:srgbClr val="8FC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A0FAE2A-6865-C93F-BF8F-0691D33F924D}"/>
              </a:ext>
            </a:extLst>
          </p:cNvPr>
          <p:cNvSpPr/>
          <p:nvPr userDrawn="1"/>
        </p:nvSpPr>
        <p:spPr>
          <a:xfrm>
            <a:off x="3352800" y="-787400"/>
            <a:ext cx="584200" cy="584200"/>
          </a:xfrm>
          <a:prstGeom prst="rect">
            <a:avLst/>
          </a:prstGeom>
          <a:solidFill>
            <a:srgbClr val="369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3048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3.x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4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6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7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0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1.xml"/><Relationship Id="rId6" Type="http://schemas.openxmlformats.org/officeDocument/2006/relationships/oleObject" Target="../embeddings/oleObject3.bin"/><Relationship Id="rId5" Type="http://schemas.openxmlformats.org/officeDocument/2006/relationships/hyperlink" Target="https://joaoemilianoneto.blogspot.com/" TargetMode="External"/><Relationship Id="rId4" Type="http://schemas.openxmlformats.org/officeDocument/2006/relationships/image" Target="../media/image12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3.x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4.xml"/><Relationship Id="rId6" Type="http://schemas.openxmlformats.org/officeDocument/2006/relationships/image" Target="../media/image1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5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ítulo 1">
            <a:extLst>
              <a:ext uri="{FF2B5EF4-FFF2-40B4-BE49-F238E27FC236}">
                <a16:creationId xmlns:a16="http://schemas.microsoft.com/office/drawing/2014/main" id="{C932A6A2-490D-BDFB-385C-AD82FC517806}"/>
              </a:ext>
            </a:extLst>
          </p:cNvPr>
          <p:cNvSpPr txBox="1">
            <a:spLocks/>
          </p:cNvSpPr>
          <p:nvPr/>
        </p:nvSpPr>
        <p:spPr>
          <a:xfrm>
            <a:off x="5713112" y="4423387"/>
            <a:ext cx="4339677" cy="648661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Calibri"/>
              <a:cs typeface="Calibri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935E77D-9569-EA94-9832-4DC95AA538FA}"/>
              </a:ext>
            </a:extLst>
          </p:cNvPr>
          <p:cNvGrpSpPr/>
          <p:nvPr/>
        </p:nvGrpSpPr>
        <p:grpSpPr>
          <a:xfrm>
            <a:off x="892174" y="1370174"/>
            <a:ext cx="2943225" cy="3254052"/>
            <a:chOff x="930275" y="2289175"/>
            <a:chExt cx="2153792" cy="2381249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8A990761-0099-39D5-B134-F1569F6C37F4}"/>
                </a:ext>
              </a:extLst>
            </p:cNvPr>
            <p:cNvSpPr/>
            <p:nvPr/>
          </p:nvSpPr>
          <p:spPr>
            <a:xfrm>
              <a:off x="930275" y="3651630"/>
              <a:ext cx="364521" cy="474630"/>
            </a:xfrm>
            <a:custGeom>
              <a:avLst/>
              <a:gdLst>
                <a:gd name="connsiteX0" fmla="*/ 195834 w 364521"/>
                <a:gd name="connsiteY0" fmla="*/ 474631 h 474630"/>
                <a:gd name="connsiteX1" fmla="*/ 92297 w 364521"/>
                <a:gd name="connsiteY1" fmla="*/ 456533 h 474630"/>
                <a:gd name="connsiteX2" fmla="*/ 0 w 364521"/>
                <a:gd name="connsiteY2" fmla="*/ 400812 h 474630"/>
                <a:gd name="connsiteX3" fmla="*/ 60008 w 364521"/>
                <a:gd name="connsiteY3" fmla="*/ 328994 h 474630"/>
                <a:gd name="connsiteX4" fmla="*/ 124968 w 364521"/>
                <a:gd name="connsiteY4" fmla="*/ 369856 h 474630"/>
                <a:gd name="connsiteX5" fmla="*/ 197834 w 364521"/>
                <a:gd name="connsiteY5" fmla="*/ 385001 h 474630"/>
                <a:gd name="connsiteX6" fmla="*/ 246983 w 364521"/>
                <a:gd name="connsiteY6" fmla="*/ 373475 h 474630"/>
                <a:gd name="connsiteX7" fmla="*/ 264414 w 364521"/>
                <a:gd name="connsiteY7" fmla="*/ 341471 h 474630"/>
                <a:gd name="connsiteX8" fmla="*/ 264414 w 364521"/>
                <a:gd name="connsiteY8" fmla="*/ 340138 h 474630"/>
                <a:gd name="connsiteX9" fmla="*/ 260794 w 364521"/>
                <a:gd name="connsiteY9" fmla="*/ 322707 h 474630"/>
                <a:gd name="connsiteX10" fmla="*/ 246888 w 364521"/>
                <a:gd name="connsiteY10" fmla="*/ 308515 h 474630"/>
                <a:gd name="connsiteX11" fmla="*/ 218504 w 364521"/>
                <a:gd name="connsiteY11" fmla="*/ 295370 h 474630"/>
                <a:gd name="connsiteX12" fmla="*/ 171260 w 364521"/>
                <a:gd name="connsiteY12" fmla="*/ 281559 h 474630"/>
                <a:gd name="connsiteX13" fmla="*/ 107823 w 364521"/>
                <a:gd name="connsiteY13" fmla="*/ 262414 h 474630"/>
                <a:gd name="connsiteX14" fmla="*/ 59531 w 364521"/>
                <a:gd name="connsiteY14" fmla="*/ 236411 h 474630"/>
                <a:gd name="connsiteX15" fmla="*/ 28766 w 364521"/>
                <a:gd name="connsiteY15" fmla="*/ 197834 h 474630"/>
                <a:gd name="connsiteX16" fmla="*/ 17812 w 364521"/>
                <a:gd name="connsiteY16" fmla="*/ 140494 h 474630"/>
                <a:gd name="connsiteX17" fmla="*/ 17812 w 364521"/>
                <a:gd name="connsiteY17" fmla="*/ 139160 h 474630"/>
                <a:gd name="connsiteX18" fmla="*/ 29623 w 364521"/>
                <a:gd name="connsiteY18" fmla="*/ 82106 h 474630"/>
                <a:gd name="connsiteX19" fmla="*/ 62675 w 364521"/>
                <a:gd name="connsiteY19" fmla="*/ 38291 h 474630"/>
                <a:gd name="connsiteX20" fmla="*/ 113538 w 364521"/>
                <a:gd name="connsiteY20" fmla="*/ 9906 h 474630"/>
                <a:gd name="connsiteX21" fmla="*/ 178689 w 364521"/>
                <a:gd name="connsiteY21" fmla="*/ 0 h 474630"/>
                <a:gd name="connsiteX22" fmla="*/ 271939 w 364521"/>
                <a:gd name="connsiteY22" fmla="*/ 15145 h 474630"/>
                <a:gd name="connsiteX23" fmla="*/ 350044 w 364521"/>
                <a:gd name="connsiteY23" fmla="*/ 58674 h 474630"/>
                <a:gd name="connsiteX24" fmla="*/ 297275 w 364521"/>
                <a:gd name="connsiteY24" fmla="*/ 135160 h 474630"/>
                <a:gd name="connsiteX25" fmla="*/ 236601 w 364521"/>
                <a:gd name="connsiteY25" fmla="*/ 101822 h 474630"/>
                <a:gd name="connsiteX26" fmla="*/ 177260 w 364521"/>
                <a:gd name="connsiteY26" fmla="*/ 89630 h 474630"/>
                <a:gd name="connsiteX27" fmla="*/ 132779 w 364521"/>
                <a:gd name="connsiteY27" fmla="*/ 101156 h 474630"/>
                <a:gd name="connsiteX28" fmla="*/ 117920 w 364521"/>
                <a:gd name="connsiteY28" fmla="*/ 129826 h 474630"/>
                <a:gd name="connsiteX29" fmla="*/ 117920 w 364521"/>
                <a:gd name="connsiteY29" fmla="*/ 131159 h 474630"/>
                <a:gd name="connsiteX30" fmla="*/ 122206 w 364521"/>
                <a:gd name="connsiteY30" fmla="*/ 150590 h 474630"/>
                <a:gd name="connsiteX31" fmla="*/ 137732 w 364521"/>
                <a:gd name="connsiteY31" fmla="*/ 165449 h 474630"/>
                <a:gd name="connsiteX32" fmla="*/ 168497 w 364521"/>
                <a:gd name="connsiteY32" fmla="*/ 177927 h 474630"/>
                <a:gd name="connsiteX33" fmla="*/ 217742 w 364521"/>
                <a:gd name="connsiteY33" fmla="*/ 191738 h 474630"/>
                <a:gd name="connsiteX34" fmla="*/ 280226 w 364521"/>
                <a:gd name="connsiteY34" fmla="*/ 212503 h 474630"/>
                <a:gd name="connsiteX35" fmla="*/ 326517 w 364521"/>
                <a:gd name="connsiteY35" fmla="*/ 240221 h 474630"/>
                <a:gd name="connsiteX36" fmla="*/ 354901 w 364521"/>
                <a:gd name="connsiteY36" fmla="*/ 278130 h 474630"/>
                <a:gd name="connsiteX37" fmla="*/ 364522 w 364521"/>
                <a:gd name="connsiteY37" fmla="*/ 330232 h 474630"/>
                <a:gd name="connsiteX38" fmla="*/ 364522 w 364521"/>
                <a:gd name="connsiteY38" fmla="*/ 331565 h 474630"/>
                <a:gd name="connsiteX39" fmla="*/ 352044 w 364521"/>
                <a:gd name="connsiteY39" fmla="*/ 392525 h 474630"/>
                <a:gd name="connsiteX40" fmla="*/ 317373 w 364521"/>
                <a:gd name="connsiteY40" fmla="*/ 437388 h 474630"/>
                <a:gd name="connsiteX41" fmla="*/ 264224 w 364521"/>
                <a:gd name="connsiteY41" fmla="*/ 465106 h 474630"/>
                <a:gd name="connsiteX42" fmla="*/ 195739 w 364521"/>
                <a:gd name="connsiteY42" fmla="*/ 474631 h 47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64521" h="474630">
                  <a:moveTo>
                    <a:pt x="195834" y="474631"/>
                  </a:moveTo>
                  <a:cubicBezTo>
                    <a:pt x="160687" y="474631"/>
                    <a:pt x="126206" y="468630"/>
                    <a:pt x="92297" y="456533"/>
                  </a:cubicBezTo>
                  <a:cubicBezTo>
                    <a:pt x="58484" y="444437"/>
                    <a:pt x="27718" y="425863"/>
                    <a:pt x="0" y="400812"/>
                  </a:cubicBezTo>
                  <a:lnTo>
                    <a:pt x="60008" y="328994"/>
                  </a:lnTo>
                  <a:cubicBezTo>
                    <a:pt x="81058" y="346139"/>
                    <a:pt x="102775" y="359759"/>
                    <a:pt x="124968" y="369856"/>
                  </a:cubicBezTo>
                  <a:cubicBezTo>
                    <a:pt x="147161" y="379952"/>
                    <a:pt x="171450" y="385001"/>
                    <a:pt x="197834" y="385001"/>
                  </a:cubicBezTo>
                  <a:cubicBezTo>
                    <a:pt x="218885" y="385001"/>
                    <a:pt x="235268" y="381191"/>
                    <a:pt x="246983" y="373475"/>
                  </a:cubicBezTo>
                  <a:cubicBezTo>
                    <a:pt x="258604" y="365760"/>
                    <a:pt x="264414" y="355092"/>
                    <a:pt x="264414" y="341471"/>
                  </a:cubicBezTo>
                  <a:lnTo>
                    <a:pt x="264414" y="340138"/>
                  </a:lnTo>
                  <a:cubicBezTo>
                    <a:pt x="264414" y="333566"/>
                    <a:pt x="263176" y="327755"/>
                    <a:pt x="260794" y="322707"/>
                  </a:cubicBezTo>
                  <a:cubicBezTo>
                    <a:pt x="258318" y="317659"/>
                    <a:pt x="253746" y="312896"/>
                    <a:pt x="246888" y="308515"/>
                  </a:cubicBezTo>
                  <a:cubicBezTo>
                    <a:pt x="240030" y="304133"/>
                    <a:pt x="230600" y="299752"/>
                    <a:pt x="218504" y="295370"/>
                  </a:cubicBezTo>
                  <a:cubicBezTo>
                    <a:pt x="206407" y="290989"/>
                    <a:pt x="190595" y="286322"/>
                    <a:pt x="171260" y="281559"/>
                  </a:cubicBezTo>
                  <a:cubicBezTo>
                    <a:pt x="147923" y="275844"/>
                    <a:pt x="126778" y="269462"/>
                    <a:pt x="107823" y="262414"/>
                  </a:cubicBezTo>
                  <a:cubicBezTo>
                    <a:pt x="88868" y="255365"/>
                    <a:pt x="72771" y="246698"/>
                    <a:pt x="59531" y="236411"/>
                  </a:cubicBezTo>
                  <a:cubicBezTo>
                    <a:pt x="46292" y="226124"/>
                    <a:pt x="36100" y="213265"/>
                    <a:pt x="28766" y="197834"/>
                  </a:cubicBezTo>
                  <a:cubicBezTo>
                    <a:pt x="21431" y="182404"/>
                    <a:pt x="17812" y="163354"/>
                    <a:pt x="17812" y="140494"/>
                  </a:cubicBezTo>
                  <a:lnTo>
                    <a:pt x="17812" y="139160"/>
                  </a:lnTo>
                  <a:cubicBezTo>
                    <a:pt x="17812" y="118110"/>
                    <a:pt x="21717" y="99060"/>
                    <a:pt x="29623" y="82106"/>
                  </a:cubicBezTo>
                  <a:cubicBezTo>
                    <a:pt x="37529" y="65151"/>
                    <a:pt x="48482" y="50578"/>
                    <a:pt x="62675" y="38291"/>
                  </a:cubicBezTo>
                  <a:cubicBezTo>
                    <a:pt x="76867" y="26003"/>
                    <a:pt x="93821" y="16574"/>
                    <a:pt x="113538" y="9906"/>
                  </a:cubicBezTo>
                  <a:cubicBezTo>
                    <a:pt x="133255" y="3334"/>
                    <a:pt x="154972" y="0"/>
                    <a:pt x="178689" y="0"/>
                  </a:cubicBezTo>
                  <a:cubicBezTo>
                    <a:pt x="212503" y="0"/>
                    <a:pt x="243650" y="5048"/>
                    <a:pt x="271939" y="15145"/>
                  </a:cubicBezTo>
                  <a:cubicBezTo>
                    <a:pt x="300323" y="25241"/>
                    <a:pt x="326326" y="39719"/>
                    <a:pt x="350044" y="58674"/>
                  </a:cubicBezTo>
                  <a:lnTo>
                    <a:pt x="297275" y="135160"/>
                  </a:lnTo>
                  <a:cubicBezTo>
                    <a:pt x="276606" y="121063"/>
                    <a:pt x="256413" y="110014"/>
                    <a:pt x="236601" y="101822"/>
                  </a:cubicBezTo>
                  <a:cubicBezTo>
                    <a:pt x="216789" y="93726"/>
                    <a:pt x="197072" y="89630"/>
                    <a:pt x="177260" y="89630"/>
                  </a:cubicBezTo>
                  <a:cubicBezTo>
                    <a:pt x="157448" y="89630"/>
                    <a:pt x="142685" y="93440"/>
                    <a:pt x="132779" y="101156"/>
                  </a:cubicBezTo>
                  <a:cubicBezTo>
                    <a:pt x="122873" y="108871"/>
                    <a:pt x="117920" y="118396"/>
                    <a:pt x="117920" y="129826"/>
                  </a:cubicBezTo>
                  <a:lnTo>
                    <a:pt x="117920" y="131159"/>
                  </a:lnTo>
                  <a:cubicBezTo>
                    <a:pt x="117920" y="138684"/>
                    <a:pt x="119348" y="145161"/>
                    <a:pt x="122206" y="150590"/>
                  </a:cubicBezTo>
                  <a:cubicBezTo>
                    <a:pt x="125063" y="156115"/>
                    <a:pt x="130207" y="161068"/>
                    <a:pt x="137732" y="165449"/>
                  </a:cubicBezTo>
                  <a:cubicBezTo>
                    <a:pt x="145256" y="169831"/>
                    <a:pt x="155448" y="174022"/>
                    <a:pt x="168497" y="177927"/>
                  </a:cubicBezTo>
                  <a:cubicBezTo>
                    <a:pt x="181547" y="181928"/>
                    <a:pt x="197930" y="186500"/>
                    <a:pt x="217742" y="191738"/>
                  </a:cubicBezTo>
                  <a:cubicBezTo>
                    <a:pt x="241078" y="197930"/>
                    <a:pt x="261938" y="204788"/>
                    <a:pt x="280226" y="212503"/>
                  </a:cubicBezTo>
                  <a:cubicBezTo>
                    <a:pt x="298514" y="220218"/>
                    <a:pt x="313944" y="229457"/>
                    <a:pt x="326517" y="240221"/>
                  </a:cubicBezTo>
                  <a:cubicBezTo>
                    <a:pt x="339090" y="250984"/>
                    <a:pt x="348520" y="263652"/>
                    <a:pt x="354901" y="278130"/>
                  </a:cubicBezTo>
                  <a:cubicBezTo>
                    <a:pt x="361283" y="292608"/>
                    <a:pt x="364522" y="310039"/>
                    <a:pt x="364522" y="330232"/>
                  </a:cubicBezTo>
                  <a:lnTo>
                    <a:pt x="364522" y="331565"/>
                  </a:lnTo>
                  <a:cubicBezTo>
                    <a:pt x="364522" y="354425"/>
                    <a:pt x="360331" y="374714"/>
                    <a:pt x="352044" y="392525"/>
                  </a:cubicBezTo>
                  <a:cubicBezTo>
                    <a:pt x="343757" y="410337"/>
                    <a:pt x="332137" y="425291"/>
                    <a:pt x="317373" y="437388"/>
                  </a:cubicBezTo>
                  <a:cubicBezTo>
                    <a:pt x="302514" y="449485"/>
                    <a:pt x="284798" y="458724"/>
                    <a:pt x="264224" y="465106"/>
                  </a:cubicBezTo>
                  <a:cubicBezTo>
                    <a:pt x="243650" y="471488"/>
                    <a:pt x="220790" y="474631"/>
                    <a:pt x="195739" y="474631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FD6BADD-63BC-6AB2-16A0-67E8E3230EA9}"/>
                </a:ext>
              </a:extLst>
            </p:cNvPr>
            <p:cNvSpPr/>
            <p:nvPr/>
          </p:nvSpPr>
          <p:spPr>
            <a:xfrm>
              <a:off x="1293463" y="3654869"/>
              <a:ext cx="489203" cy="464819"/>
            </a:xfrm>
            <a:custGeom>
              <a:avLst/>
              <a:gdLst>
                <a:gd name="connsiteX0" fmla="*/ 197834 w 489203"/>
                <a:gd name="connsiteY0" fmla="*/ 0 h 464819"/>
                <a:gd name="connsiteX1" fmla="*/ 291465 w 489203"/>
                <a:gd name="connsiteY1" fmla="*/ 0 h 464819"/>
                <a:gd name="connsiteX2" fmla="*/ 489204 w 489203"/>
                <a:gd name="connsiteY2" fmla="*/ 464820 h 464819"/>
                <a:gd name="connsiteX3" fmla="*/ 383095 w 489203"/>
                <a:gd name="connsiteY3" fmla="*/ 464820 h 464819"/>
                <a:gd name="connsiteX4" fmla="*/ 340900 w 489203"/>
                <a:gd name="connsiteY4" fmla="*/ 361283 h 464819"/>
                <a:gd name="connsiteX5" fmla="*/ 145733 w 489203"/>
                <a:gd name="connsiteY5" fmla="*/ 361283 h 464819"/>
                <a:gd name="connsiteX6" fmla="*/ 103537 w 489203"/>
                <a:gd name="connsiteY6" fmla="*/ 464820 h 464819"/>
                <a:gd name="connsiteX7" fmla="*/ 0 w 489203"/>
                <a:gd name="connsiteY7" fmla="*/ 464820 h 464819"/>
                <a:gd name="connsiteX8" fmla="*/ 197834 w 489203"/>
                <a:gd name="connsiteY8" fmla="*/ 0 h 464819"/>
                <a:gd name="connsiteX9" fmla="*/ 304610 w 489203"/>
                <a:gd name="connsiteY9" fmla="*/ 271653 h 464819"/>
                <a:gd name="connsiteX10" fmla="*/ 243268 w 489203"/>
                <a:gd name="connsiteY10" fmla="*/ 122015 h 464819"/>
                <a:gd name="connsiteX11" fmla="*/ 181927 w 489203"/>
                <a:gd name="connsiteY11" fmla="*/ 271653 h 464819"/>
                <a:gd name="connsiteX12" fmla="*/ 304610 w 489203"/>
                <a:gd name="connsiteY12" fmla="*/ 271653 h 46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9203" h="464819">
                  <a:moveTo>
                    <a:pt x="197834" y="0"/>
                  </a:moveTo>
                  <a:lnTo>
                    <a:pt x="291465" y="0"/>
                  </a:lnTo>
                  <a:lnTo>
                    <a:pt x="489204" y="464820"/>
                  </a:lnTo>
                  <a:lnTo>
                    <a:pt x="383095" y="464820"/>
                  </a:lnTo>
                  <a:lnTo>
                    <a:pt x="340900" y="361283"/>
                  </a:lnTo>
                  <a:lnTo>
                    <a:pt x="145733" y="361283"/>
                  </a:lnTo>
                  <a:lnTo>
                    <a:pt x="103537" y="464820"/>
                  </a:lnTo>
                  <a:lnTo>
                    <a:pt x="0" y="464820"/>
                  </a:lnTo>
                  <a:lnTo>
                    <a:pt x="197834" y="0"/>
                  </a:lnTo>
                  <a:close/>
                  <a:moveTo>
                    <a:pt x="304610" y="271653"/>
                  </a:moveTo>
                  <a:lnTo>
                    <a:pt x="243268" y="122015"/>
                  </a:lnTo>
                  <a:lnTo>
                    <a:pt x="181927" y="271653"/>
                  </a:lnTo>
                  <a:lnTo>
                    <a:pt x="304610" y="271653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380AE8D-C2F3-2EE9-16DE-D1F73AFBE93B}"/>
                </a:ext>
              </a:extLst>
            </p:cNvPr>
            <p:cNvSpPr/>
            <p:nvPr/>
          </p:nvSpPr>
          <p:spPr>
            <a:xfrm>
              <a:off x="1796478" y="3508565"/>
              <a:ext cx="402145" cy="618362"/>
            </a:xfrm>
            <a:custGeom>
              <a:avLst/>
              <a:gdLst>
                <a:gd name="connsiteX0" fmla="*/ 199834 w 402145"/>
                <a:gd name="connsiteY0" fmla="*/ 618363 h 618362"/>
                <a:gd name="connsiteX1" fmla="*/ 53435 w 402145"/>
                <a:gd name="connsiteY1" fmla="*/ 566928 h 618362"/>
                <a:gd name="connsiteX2" fmla="*/ 0 w 402145"/>
                <a:gd name="connsiteY2" fmla="*/ 413290 h 618362"/>
                <a:gd name="connsiteX3" fmla="*/ 0 w 402145"/>
                <a:gd name="connsiteY3" fmla="*/ 149542 h 618362"/>
                <a:gd name="connsiteX4" fmla="*/ 101536 w 402145"/>
                <a:gd name="connsiteY4" fmla="*/ 149542 h 618362"/>
                <a:gd name="connsiteX5" fmla="*/ 101536 w 402145"/>
                <a:gd name="connsiteY5" fmla="*/ 410623 h 618362"/>
                <a:gd name="connsiteX6" fmla="*/ 127921 w 402145"/>
                <a:gd name="connsiteY6" fmla="*/ 495967 h 618362"/>
                <a:gd name="connsiteX7" fmla="*/ 201073 w 402145"/>
                <a:gd name="connsiteY7" fmla="*/ 524637 h 618362"/>
                <a:gd name="connsiteX8" fmla="*/ 274225 w 402145"/>
                <a:gd name="connsiteY8" fmla="*/ 496919 h 618362"/>
                <a:gd name="connsiteX9" fmla="*/ 300609 w 402145"/>
                <a:gd name="connsiteY9" fmla="*/ 413861 h 618362"/>
                <a:gd name="connsiteX10" fmla="*/ 300609 w 402145"/>
                <a:gd name="connsiteY10" fmla="*/ 149447 h 618362"/>
                <a:gd name="connsiteX11" fmla="*/ 402146 w 402145"/>
                <a:gd name="connsiteY11" fmla="*/ 149447 h 618362"/>
                <a:gd name="connsiteX12" fmla="*/ 402146 w 402145"/>
                <a:gd name="connsiteY12" fmla="*/ 409861 h 618362"/>
                <a:gd name="connsiteX13" fmla="*/ 387953 w 402145"/>
                <a:gd name="connsiteY13" fmla="*/ 501491 h 618362"/>
                <a:gd name="connsiteX14" fmla="*/ 347377 w 402145"/>
                <a:gd name="connsiteY14" fmla="*/ 566452 h 618362"/>
                <a:gd name="connsiteX15" fmla="*/ 283464 w 402145"/>
                <a:gd name="connsiteY15" fmla="*/ 605314 h 618362"/>
                <a:gd name="connsiteX16" fmla="*/ 199739 w 402145"/>
                <a:gd name="connsiteY16" fmla="*/ 618172 h 618362"/>
                <a:gd name="connsiteX17" fmla="*/ 230124 w 402145"/>
                <a:gd name="connsiteY17" fmla="*/ 0 h 618362"/>
                <a:gd name="connsiteX18" fmla="*/ 316516 w 402145"/>
                <a:gd name="connsiteY18" fmla="*/ 37624 h 618362"/>
                <a:gd name="connsiteX19" fmla="*/ 232124 w 402145"/>
                <a:gd name="connsiteY19" fmla="*/ 116776 h 618362"/>
                <a:gd name="connsiteX20" fmla="*/ 155638 w 402145"/>
                <a:gd name="connsiteY20" fmla="*/ 116776 h 618362"/>
                <a:gd name="connsiteX21" fmla="*/ 230124 w 402145"/>
                <a:gd name="connsiteY21" fmla="*/ 95 h 61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2145" h="618362">
                  <a:moveTo>
                    <a:pt x="199834" y="618363"/>
                  </a:moveTo>
                  <a:cubicBezTo>
                    <a:pt x="137827" y="618363"/>
                    <a:pt x="89059" y="601218"/>
                    <a:pt x="53435" y="566928"/>
                  </a:cubicBezTo>
                  <a:cubicBezTo>
                    <a:pt x="17812" y="532638"/>
                    <a:pt x="0" y="481489"/>
                    <a:pt x="0" y="413290"/>
                  </a:cubicBezTo>
                  <a:lnTo>
                    <a:pt x="0" y="149542"/>
                  </a:lnTo>
                  <a:lnTo>
                    <a:pt x="101536" y="149542"/>
                  </a:lnTo>
                  <a:lnTo>
                    <a:pt x="101536" y="410623"/>
                  </a:lnTo>
                  <a:cubicBezTo>
                    <a:pt x="101536" y="448437"/>
                    <a:pt x="110299" y="476917"/>
                    <a:pt x="127921" y="495967"/>
                  </a:cubicBezTo>
                  <a:cubicBezTo>
                    <a:pt x="145447" y="515112"/>
                    <a:pt x="169926" y="524637"/>
                    <a:pt x="201073" y="524637"/>
                  </a:cubicBezTo>
                  <a:cubicBezTo>
                    <a:pt x="232219" y="524637"/>
                    <a:pt x="256699" y="515398"/>
                    <a:pt x="274225" y="496919"/>
                  </a:cubicBezTo>
                  <a:cubicBezTo>
                    <a:pt x="291751" y="478441"/>
                    <a:pt x="300609" y="450818"/>
                    <a:pt x="300609" y="413861"/>
                  </a:cubicBezTo>
                  <a:lnTo>
                    <a:pt x="300609" y="149447"/>
                  </a:lnTo>
                  <a:lnTo>
                    <a:pt x="402146" y="149447"/>
                  </a:lnTo>
                  <a:lnTo>
                    <a:pt x="402146" y="409861"/>
                  </a:lnTo>
                  <a:cubicBezTo>
                    <a:pt x="402146" y="445008"/>
                    <a:pt x="397383" y="475583"/>
                    <a:pt x="387953" y="501491"/>
                  </a:cubicBezTo>
                  <a:cubicBezTo>
                    <a:pt x="378523" y="527399"/>
                    <a:pt x="364998" y="549116"/>
                    <a:pt x="347377" y="566452"/>
                  </a:cubicBezTo>
                  <a:cubicBezTo>
                    <a:pt x="329755" y="583787"/>
                    <a:pt x="308515" y="596741"/>
                    <a:pt x="283464" y="605314"/>
                  </a:cubicBezTo>
                  <a:cubicBezTo>
                    <a:pt x="258413" y="613886"/>
                    <a:pt x="230505" y="618172"/>
                    <a:pt x="199739" y="618172"/>
                  </a:cubicBezTo>
                  <a:close/>
                  <a:moveTo>
                    <a:pt x="230124" y="0"/>
                  </a:moveTo>
                  <a:lnTo>
                    <a:pt x="316516" y="37624"/>
                  </a:lnTo>
                  <a:lnTo>
                    <a:pt x="232124" y="116776"/>
                  </a:lnTo>
                  <a:lnTo>
                    <a:pt x="155638" y="116776"/>
                  </a:lnTo>
                  <a:lnTo>
                    <a:pt x="230124" y="95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0087EB24-97AE-B724-C389-1BE38D5B0843}"/>
                </a:ext>
              </a:extLst>
            </p:cNvPr>
            <p:cNvSpPr/>
            <p:nvPr/>
          </p:nvSpPr>
          <p:spPr>
            <a:xfrm>
              <a:off x="2252154" y="3658203"/>
              <a:ext cx="425291" cy="461486"/>
            </a:xfrm>
            <a:custGeom>
              <a:avLst/>
              <a:gdLst>
                <a:gd name="connsiteX0" fmla="*/ 0 w 425291"/>
                <a:gd name="connsiteY0" fmla="*/ 0 h 461486"/>
                <a:gd name="connsiteX1" fmla="*/ 180022 w 425291"/>
                <a:gd name="connsiteY1" fmla="*/ 0 h 461486"/>
                <a:gd name="connsiteX2" fmla="*/ 279273 w 425291"/>
                <a:gd name="connsiteY2" fmla="*/ 17431 h 461486"/>
                <a:gd name="connsiteX3" fmla="*/ 357092 w 425291"/>
                <a:gd name="connsiteY3" fmla="*/ 65913 h 461486"/>
                <a:gd name="connsiteX4" fmla="*/ 407480 w 425291"/>
                <a:gd name="connsiteY4" fmla="*/ 138779 h 461486"/>
                <a:gd name="connsiteX5" fmla="*/ 425291 w 425291"/>
                <a:gd name="connsiteY5" fmla="*/ 229457 h 461486"/>
                <a:gd name="connsiteX6" fmla="*/ 425291 w 425291"/>
                <a:gd name="connsiteY6" fmla="*/ 230791 h 461486"/>
                <a:gd name="connsiteX7" fmla="*/ 407480 w 425291"/>
                <a:gd name="connsiteY7" fmla="*/ 321755 h 461486"/>
                <a:gd name="connsiteX8" fmla="*/ 357092 w 425291"/>
                <a:gd name="connsiteY8" fmla="*/ 394907 h 461486"/>
                <a:gd name="connsiteX9" fmla="*/ 279273 w 425291"/>
                <a:gd name="connsiteY9" fmla="*/ 443675 h 461486"/>
                <a:gd name="connsiteX10" fmla="*/ 180022 w 425291"/>
                <a:gd name="connsiteY10" fmla="*/ 461486 h 461486"/>
                <a:gd name="connsiteX11" fmla="*/ 0 w 425291"/>
                <a:gd name="connsiteY11" fmla="*/ 461486 h 461486"/>
                <a:gd name="connsiteX12" fmla="*/ 0 w 425291"/>
                <a:gd name="connsiteY12" fmla="*/ 0 h 461486"/>
                <a:gd name="connsiteX13" fmla="*/ 180022 w 425291"/>
                <a:gd name="connsiteY13" fmla="*/ 369856 h 461486"/>
                <a:gd name="connsiteX14" fmla="*/ 236696 w 425291"/>
                <a:gd name="connsiteY14" fmla="*/ 359950 h 461486"/>
                <a:gd name="connsiteX15" fmla="*/ 280511 w 425291"/>
                <a:gd name="connsiteY15" fmla="*/ 331565 h 461486"/>
                <a:gd name="connsiteX16" fmla="*/ 308896 w 425291"/>
                <a:gd name="connsiteY16" fmla="*/ 288036 h 461486"/>
                <a:gd name="connsiteX17" fmla="*/ 319088 w 425291"/>
                <a:gd name="connsiteY17" fmla="*/ 232029 h 461486"/>
                <a:gd name="connsiteX18" fmla="*/ 319088 w 425291"/>
                <a:gd name="connsiteY18" fmla="*/ 230696 h 461486"/>
                <a:gd name="connsiteX19" fmla="*/ 308896 w 425291"/>
                <a:gd name="connsiteY19" fmla="*/ 174689 h 461486"/>
                <a:gd name="connsiteX20" fmla="*/ 280511 w 425291"/>
                <a:gd name="connsiteY20" fmla="*/ 130492 h 461486"/>
                <a:gd name="connsiteX21" fmla="*/ 236696 w 425291"/>
                <a:gd name="connsiteY21" fmla="*/ 101822 h 461486"/>
                <a:gd name="connsiteX22" fmla="*/ 180022 w 425291"/>
                <a:gd name="connsiteY22" fmla="*/ 91631 h 461486"/>
                <a:gd name="connsiteX23" fmla="*/ 101537 w 425291"/>
                <a:gd name="connsiteY23" fmla="*/ 91631 h 461486"/>
                <a:gd name="connsiteX24" fmla="*/ 101537 w 425291"/>
                <a:gd name="connsiteY24" fmla="*/ 369856 h 461486"/>
                <a:gd name="connsiteX25" fmla="*/ 180022 w 425291"/>
                <a:gd name="connsiteY25" fmla="*/ 369856 h 46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25291" h="461486">
                  <a:moveTo>
                    <a:pt x="0" y="0"/>
                  </a:moveTo>
                  <a:lnTo>
                    <a:pt x="180022" y="0"/>
                  </a:lnTo>
                  <a:cubicBezTo>
                    <a:pt x="216027" y="0"/>
                    <a:pt x="249174" y="5810"/>
                    <a:pt x="279273" y="17431"/>
                  </a:cubicBezTo>
                  <a:cubicBezTo>
                    <a:pt x="309372" y="29051"/>
                    <a:pt x="335280" y="45244"/>
                    <a:pt x="357092" y="65913"/>
                  </a:cubicBezTo>
                  <a:cubicBezTo>
                    <a:pt x="378905" y="86582"/>
                    <a:pt x="395669" y="110871"/>
                    <a:pt x="407480" y="138779"/>
                  </a:cubicBezTo>
                  <a:cubicBezTo>
                    <a:pt x="419386" y="166688"/>
                    <a:pt x="425291" y="196882"/>
                    <a:pt x="425291" y="229457"/>
                  </a:cubicBezTo>
                  <a:lnTo>
                    <a:pt x="425291" y="230791"/>
                  </a:lnTo>
                  <a:cubicBezTo>
                    <a:pt x="425291" y="263366"/>
                    <a:pt x="419386" y="293656"/>
                    <a:pt x="407480" y="321755"/>
                  </a:cubicBezTo>
                  <a:cubicBezTo>
                    <a:pt x="395573" y="349853"/>
                    <a:pt x="378809" y="374237"/>
                    <a:pt x="357092" y="394907"/>
                  </a:cubicBezTo>
                  <a:cubicBezTo>
                    <a:pt x="335375" y="415576"/>
                    <a:pt x="309372" y="431864"/>
                    <a:pt x="279273" y="443675"/>
                  </a:cubicBezTo>
                  <a:cubicBezTo>
                    <a:pt x="249174" y="455581"/>
                    <a:pt x="216122" y="461486"/>
                    <a:pt x="180022" y="461486"/>
                  </a:cubicBezTo>
                  <a:lnTo>
                    <a:pt x="0" y="461486"/>
                  </a:lnTo>
                  <a:lnTo>
                    <a:pt x="0" y="0"/>
                  </a:lnTo>
                  <a:close/>
                  <a:moveTo>
                    <a:pt x="180022" y="369856"/>
                  </a:moveTo>
                  <a:cubicBezTo>
                    <a:pt x="200692" y="369856"/>
                    <a:pt x="219551" y="366522"/>
                    <a:pt x="236696" y="359950"/>
                  </a:cubicBezTo>
                  <a:cubicBezTo>
                    <a:pt x="253841" y="353378"/>
                    <a:pt x="268415" y="343948"/>
                    <a:pt x="280511" y="331565"/>
                  </a:cubicBezTo>
                  <a:cubicBezTo>
                    <a:pt x="292608" y="319278"/>
                    <a:pt x="302038" y="304800"/>
                    <a:pt x="308896" y="288036"/>
                  </a:cubicBezTo>
                  <a:cubicBezTo>
                    <a:pt x="315659" y="271367"/>
                    <a:pt x="319088" y="252698"/>
                    <a:pt x="319088" y="232029"/>
                  </a:cubicBezTo>
                  <a:lnTo>
                    <a:pt x="319088" y="230696"/>
                  </a:lnTo>
                  <a:cubicBezTo>
                    <a:pt x="319088" y="210503"/>
                    <a:pt x="315659" y="191834"/>
                    <a:pt x="308896" y="174689"/>
                  </a:cubicBezTo>
                  <a:cubicBezTo>
                    <a:pt x="302038" y="157544"/>
                    <a:pt x="292608" y="142780"/>
                    <a:pt x="280511" y="130492"/>
                  </a:cubicBezTo>
                  <a:cubicBezTo>
                    <a:pt x="268415" y="118205"/>
                    <a:pt x="253841" y="108680"/>
                    <a:pt x="236696" y="101822"/>
                  </a:cubicBezTo>
                  <a:cubicBezTo>
                    <a:pt x="219551" y="95060"/>
                    <a:pt x="200692" y="91631"/>
                    <a:pt x="180022" y="91631"/>
                  </a:cubicBezTo>
                  <a:lnTo>
                    <a:pt x="101537" y="91631"/>
                  </a:lnTo>
                  <a:lnTo>
                    <a:pt x="101537" y="369856"/>
                  </a:lnTo>
                  <a:lnTo>
                    <a:pt x="180022" y="369856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49DF0E8-69C2-D5BA-B27A-9DD77683CB29}"/>
                </a:ext>
              </a:extLst>
            </p:cNvPr>
            <p:cNvSpPr/>
            <p:nvPr/>
          </p:nvSpPr>
          <p:spPr>
            <a:xfrm>
              <a:off x="2717545" y="3658108"/>
              <a:ext cx="350710" cy="461486"/>
            </a:xfrm>
            <a:custGeom>
              <a:avLst/>
              <a:gdLst>
                <a:gd name="connsiteX0" fmla="*/ 0 w 350710"/>
                <a:gd name="connsiteY0" fmla="*/ 95 h 461486"/>
                <a:gd name="connsiteX1" fmla="*/ 347472 w 350710"/>
                <a:gd name="connsiteY1" fmla="*/ 95 h 461486"/>
                <a:gd name="connsiteX2" fmla="*/ 347472 w 350710"/>
                <a:gd name="connsiteY2" fmla="*/ 90392 h 461486"/>
                <a:gd name="connsiteX3" fmla="*/ 100203 w 350710"/>
                <a:gd name="connsiteY3" fmla="*/ 90392 h 461486"/>
                <a:gd name="connsiteX4" fmla="*/ 100203 w 350710"/>
                <a:gd name="connsiteY4" fmla="*/ 184023 h 461486"/>
                <a:gd name="connsiteX5" fmla="*/ 317754 w 350710"/>
                <a:gd name="connsiteY5" fmla="*/ 184023 h 461486"/>
                <a:gd name="connsiteX6" fmla="*/ 317754 w 350710"/>
                <a:gd name="connsiteY6" fmla="*/ 274320 h 461486"/>
                <a:gd name="connsiteX7" fmla="*/ 100203 w 350710"/>
                <a:gd name="connsiteY7" fmla="*/ 274320 h 461486"/>
                <a:gd name="connsiteX8" fmla="*/ 100203 w 350710"/>
                <a:gd name="connsiteY8" fmla="*/ 371189 h 461486"/>
                <a:gd name="connsiteX9" fmla="*/ 350711 w 350710"/>
                <a:gd name="connsiteY9" fmla="*/ 371189 h 461486"/>
                <a:gd name="connsiteX10" fmla="*/ 350711 w 350710"/>
                <a:gd name="connsiteY10" fmla="*/ 461486 h 461486"/>
                <a:gd name="connsiteX11" fmla="*/ 0 w 350710"/>
                <a:gd name="connsiteY11" fmla="*/ 461486 h 461486"/>
                <a:gd name="connsiteX12" fmla="*/ 0 w 350710"/>
                <a:gd name="connsiteY12" fmla="*/ 0 h 46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0710" h="461486">
                  <a:moveTo>
                    <a:pt x="0" y="95"/>
                  </a:moveTo>
                  <a:lnTo>
                    <a:pt x="347472" y="95"/>
                  </a:lnTo>
                  <a:lnTo>
                    <a:pt x="347472" y="90392"/>
                  </a:lnTo>
                  <a:lnTo>
                    <a:pt x="100203" y="90392"/>
                  </a:lnTo>
                  <a:lnTo>
                    <a:pt x="100203" y="184023"/>
                  </a:lnTo>
                  <a:lnTo>
                    <a:pt x="317754" y="184023"/>
                  </a:lnTo>
                  <a:lnTo>
                    <a:pt x="317754" y="274320"/>
                  </a:lnTo>
                  <a:lnTo>
                    <a:pt x="100203" y="274320"/>
                  </a:lnTo>
                  <a:lnTo>
                    <a:pt x="100203" y="371189"/>
                  </a:lnTo>
                  <a:lnTo>
                    <a:pt x="350711" y="371189"/>
                  </a:lnTo>
                  <a:lnTo>
                    <a:pt x="350711" y="461486"/>
                  </a:lnTo>
                  <a:lnTo>
                    <a:pt x="0" y="46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508CC40-4024-0B4D-2413-EEFD7A30F224}"/>
                </a:ext>
              </a:extLst>
            </p:cNvPr>
            <p:cNvSpPr/>
            <p:nvPr/>
          </p:nvSpPr>
          <p:spPr>
            <a:xfrm>
              <a:off x="942181" y="4227226"/>
              <a:ext cx="133540" cy="144017"/>
            </a:xfrm>
            <a:custGeom>
              <a:avLst/>
              <a:gdLst>
                <a:gd name="connsiteX0" fmla="*/ 70866 w 133540"/>
                <a:gd name="connsiteY0" fmla="*/ 144018 h 144017"/>
                <a:gd name="connsiteX1" fmla="*/ 43053 w 133540"/>
                <a:gd name="connsiteY1" fmla="*/ 138779 h 144017"/>
                <a:gd name="connsiteX2" fmla="*/ 20574 w 133540"/>
                <a:gd name="connsiteY2" fmla="*/ 124111 h 144017"/>
                <a:gd name="connsiteX3" fmla="*/ 5525 w 133540"/>
                <a:gd name="connsiteY3" fmla="*/ 101537 h 144017"/>
                <a:gd name="connsiteX4" fmla="*/ 0 w 133540"/>
                <a:gd name="connsiteY4" fmla="*/ 72390 h 144017"/>
                <a:gd name="connsiteX5" fmla="*/ 0 w 133540"/>
                <a:gd name="connsiteY5" fmla="*/ 71914 h 144017"/>
                <a:gd name="connsiteX6" fmla="*/ 4953 w 133540"/>
                <a:gd name="connsiteY6" fmla="*/ 43910 h 144017"/>
                <a:gd name="connsiteX7" fmla="*/ 18955 w 133540"/>
                <a:gd name="connsiteY7" fmla="*/ 21050 h 144017"/>
                <a:gd name="connsiteX8" fmla="*/ 40291 w 133540"/>
                <a:gd name="connsiteY8" fmla="*/ 5620 h 144017"/>
                <a:gd name="connsiteX9" fmla="*/ 67437 w 133540"/>
                <a:gd name="connsiteY9" fmla="*/ 0 h 144017"/>
                <a:gd name="connsiteX10" fmla="*/ 96298 w 133540"/>
                <a:gd name="connsiteY10" fmla="*/ 6001 h 144017"/>
                <a:gd name="connsiteX11" fmla="*/ 116967 w 133540"/>
                <a:gd name="connsiteY11" fmla="*/ 22193 h 144017"/>
                <a:gd name="connsiteX12" fmla="*/ 129350 w 133540"/>
                <a:gd name="connsiteY12" fmla="*/ 45815 h 144017"/>
                <a:gd name="connsiteX13" fmla="*/ 133541 w 133540"/>
                <a:gd name="connsiteY13" fmla="*/ 74200 h 144017"/>
                <a:gd name="connsiteX14" fmla="*/ 133445 w 133540"/>
                <a:gd name="connsiteY14" fmla="*/ 78486 h 144017"/>
                <a:gd name="connsiteX15" fmla="*/ 133064 w 133540"/>
                <a:gd name="connsiteY15" fmla="*/ 83058 h 144017"/>
                <a:gd name="connsiteX16" fmla="*/ 31623 w 133540"/>
                <a:gd name="connsiteY16" fmla="*/ 83058 h 144017"/>
                <a:gd name="connsiteX17" fmla="*/ 45053 w 133540"/>
                <a:gd name="connsiteY17" fmla="*/ 109061 h 144017"/>
                <a:gd name="connsiteX18" fmla="*/ 71342 w 133540"/>
                <a:gd name="connsiteY18" fmla="*/ 118110 h 144017"/>
                <a:gd name="connsiteX19" fmla="*/ 91726 w 133540"/>
                <a:gd name="connsiteY19" fmla="*/ 113919 h 144017"/>
                <a:gd name="connsiteX20" fmla="*/ 108680 w 133540"/>
                <a:gd name="connsiteY20" fmla="*/ 101632 h 144017"/>
                <a:gd name="connsiteX21" fmla="*/ 127254 w 133540"/>
                <a:gd name="connsiteY21" fmla="*/ 118110 h 144017"/>
                <a:gd name="connsiteX22" fmla="*/ 103632 w 133540"/>
                <a:gd name="connsiteY22" fmla="*/ 136970 h 144017"/>
                <a:gd name="connsiteX23" fmla="*/ 70866 w 133540"/>
                <a:gd name="connsiteY23" fmla="*/ 144018 h 144017"/>
                <a:gd name="connsiteX24" fmla="*/ 102203 w 133540"/>
                <a:gd name="connsiteY24" fmla="*/ 62198 h 144017"/>
                <a:gd name="connsiteX25" fmla="*/ 98774 w 133540"/>
                <a:gd name="connsiteY25" fmla="*/ 47911 h 144017"/>
                <a:gd name="connsiteX26" fmla="*/ 91726 w 133540"/>
                <a:gd name="connsiteY26" fmla="*/ 36385 h 144017"/>
                <a:gd name="connsiteX27" fmla="*/ 81153 w 133540"/>
                <a:gd name="connsiteY27" fmla="*/ 28670 h 144017"/>
                <a:gd name="connsiteX28" fmla="*/ 67151 w 133540"/>
                <a:gd name="connsiteY28" fmla="*/ 25813 h 144017"/>
                <a:gd name="connsiteX29" fmla="*/ 42958 w 133540"/>
                <a:gd name="connsiteY29" fmla="*/ 35909 h 144017"/>
                <a:gd name="connsiteX30" fmla="*/ 31337 w 133540"/>
                <a:gd name="connsiteY30" fmla="*/ 62198 h 144017"/>
                <a:gd name="connsiteX31" fmla="*/ 102108 w 133540"/>
                <a:gd name="connsiteY31" fmla="*/ 62198 h 14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3540" h="144017">
                  <a:moveTo>
                    <a:pt x="70866" y="144018"/>
                  </a:moveTo>
                  <a:cubicBezTo>
                    <a:pt x="60960" y="144018"/>
                    <a:pt x="51626" y="142304"/>
                    <a:pt x="43053" y="138779"/>
                  </a:cubicBezTo>
                  <a:cubicBezTo>
                    <a:pt x="34385" y="135255"/>
                    <a:pt x="26956" y="130397"/>
                    <a:pt x="20574" y="124111"/>
                  </a:cubicBezTo>
                  <a:cubicBezTo>
                    <a:pt x="14192" y="117824"/>
                    <a:pt x="9239" y="110300"/>
                    <a:pt x="5525" y="101537"/>
                  </a:cubicBezTo>
                  <a:cubicBezTo>
                    <a:pt x="1905" y="92774"/>
                    <a:pt x="0" y="83058"/>
                    <a:pt x="0" y="72390"/>
                  </a:cubicBezTo>
                  <a:lnTo>
                    <a:pt x="0" y="71914"/>
                  </a:lnTo>
                  <a:cubicBezTo>
                    <a:pt x="0" y="62008"/>
                    <a:pt x="1619" y="52673"/>
                    <a:pt x="4953" y="43910"/>
                  </a:cubicBezTo>
                  <a:cubicBezTo>
                    <a:pt x="8287" y="35242"/>
                    <a:pt x="12954" y="27622"/>
                    <a:pt x="18955" y="21050"/>
                  </a:cubicBezTo>
                  <a:cubicBezTo>
                    <a:pt x="24955" y="14478"/>
                    <a:pt x="32099" y="9430"/>
                    <a:pt x="40291" y="5620"/>
                  </a:cubicBezTo>
                  <a:cubicBezTo>
                    <a:pt x="48482" y="1905"/>
                    <a:pt x="57531" y="0"/>
                    <a:pt x="67437" y="0"/>
                  </a:cubicBezTo>
                  <a:cubicBezTo>
                    <a:pt x="78391" y="0"/>
                    <a:pt x="88011" y="2000"/>
                    <a:pt x="96298" y="6001"/>
                  </a:cubicBezTo>
                  <a:cubicBezTo>
                    <a:pt x="104584" y="10001"/>
                    <a:pt x="111443" y="15430"/>
                    <a:pt x="116967" y="22193"/>
                  </a:cubicBezTo>
                  <a:cubicBezTo>
                    <a:pt x="122492" y="28956"/>
                    <a:pt x="126587" y="36862"/>
                    <a:pt x="129350" y="45815"/>
                  </a:cubicBezTo>
                  <a:cubicBezTo>
                    <a:pt x="132112" y="54769"/>
                    <a:pt x="133541" y="64199"/>
                    <a:pt x="133541" y="74200"/>
                  </a:cubicBezTo>
                  <a:cubicBezTo>
                    <a:pt x="133541" y="75629"/>
                    <a:pt x="133541" y="77057"/>
                    <a:pt x="133445" y="78486"/>
                  </a:cubicBezTo>
                  <a:cubicBezTo>
                    <a:pt x="133445" y="80010"/>
                    <a:pt x="133255" y="81534"/>
                    <a:pt x="133064" y="83058"/>
                  </a:cubicBezTo>
                  <a:lnTo>
                    <a:pt x="31623" y="83058"/>
                  </a:lnTo>
                  <a:cubicBezTo>
                    <a:pt x="33338" y="94393"/>
                    <a:pt x="37814" y="103060"/>
                    <a:pt x="45053" y="109061"/>
                  </a:cubicBezTo>
                  <a:cubicBezTo>
                    <a:pt x="52292" y="115062"/>
                    <a:pt x="61055" y="118110"/>
                    <a:pt x="71342" y="118110"/>
                  </a:cubicBezTo>
                  <a:cubicBezTo>
                    <a:pt x="79153" y="118110"/>
                    <a:pt x="86011" y="116681"/>
                    <a:pt x="91726" y="113919"/>
                  </a:cubicBezTo>
                  <a:cubicBezTo>
                    <a:pt x="97441" y="111157"/>
                    <a:pt x="103156" y="107061"/>
                    <a:pt x="108680" y="101632"/>
                  </a:cubicBezTo>
                  <a:lnTo>
                    <a:pt x="127254" y="118110"/>
                  </a:lnTo>
                  <a:cubicBezTo>
                    <a:pt x="120587" y="125921"/>
                    <a:pt x="112776" y="132207"/>
                    <a:pt x="103632" y="136970"/>
                  </a:cubicBezTo>
                  <a:cubicBezTo>
                    <a:pt x="94488" y="141637"/>
                    <a:pt x="83534" y="144018"/>
                    <a:pt x="70866" y="144018"/>
                  </a:cubicBezTo>
                  <a:close/>
                  <a:moveTo>
                    <a:pt x="102203" y="62198"/>
                  </a:moveTo>
                  <a:cubicBezTo>
                    <a:pt x="101727" y="57150"/>
                    <a:pt x="100584" y="52388"/>
                    <a:pt x="98774" y="47911"/>
                  </a:cubicBezTo>
                  <a:cubicBezTo>
                    <a:pt x="97060" y="43434"/>
                    <a:pt x="94678" y="39624"/>
                    <a:pt x="91726" y="36385"/>
                  </a:cubicBezTo>
                  <a:cubicBezTo>
                    <a:pt x="88773" y="33147"/>
                    <a:pt x="85249" y="30575"/>
                    <a:pt x="81153" y="28670"/>
                  </a:cubicBezTo>
                  <a:cubicBezTo>
                    <a:pt x="77057" y="26765"/>
                    <a:pt x="72390" y="25813"/>
                    <a:pt x="67151" y="25813"/>
                  </a:cubicBezTo>
                  <a:cubicBezTo>
                    <a:pt x="57436" y="25813"/>
                    <a:pt x="49340" y="29146"/>
                    <a:pt x="42958" y="35909"/>
                  </a:cubicBezTo>
                  <a:cubicBezTo>
                    <a:pt x="36576" y="42577"/>
                    <a:pt x="32766" y="51340"/>
                    <a:pt x="31337" y="62198"/>
                  </a:cubicBezTo>
                  <a:lnTo>
                    <a:pt x="102108" y="62198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3EBAD35-BCD1-86A8-12A7-BFBBE92BE4D4}"/>
                </a:ext>
              </a:extLst>
            </p:cNvPr>
            <p:cNvSpPr/>
            <p:nvPr/>
          </p:nvSpPr>
          <p:spPr>
            <a:xfrm>
              <a:off x="1107630" y="4227226"/>
              <a:ext cx="210121" cy="140970"/>
            </a:xfrm>
            <a:custGeom>
              <a:avLst/>
              <a:gdLst>
                <a:gd name="connsiteX0" fmla="*/ 0 w 210121"/>
                <a:gd name="connsiteY0" fmla="*/ 2858 h 140970"/>
                <a:gd name="connsiteX1" fmla="*/ 31909 w 210121"/>
                <a:gd name="connsiteY1" fmla="*/ 2858 h 140970"/>
                <a:gd name="connsiteX2" fmla="*/ 31909 w 210121"/>
                <a:gd name="connsiteY2" fmla="*/ 24003 h 140970"/>
                <a:gd name="connsiteX3" fmla="*/ 39243 w 210121"/>
                <a:gd name="connsiteY3" fmla="*/ 15050 h 140970"/>
                <a:gd name="connsiteX4" fmla="*/ 48196 w 210121"/>
                <a:gd name="connsiteY4" fmla="*/ 7429 h 140970"/>
                <a:gd name="connsiteX5" fmla="*/ 59626 w 210121"/>
                <a:gd name="connsiteY5" fmla="*/ 2000 h 140970"/>
                <a:gd name="connsiteX6" fmla="*/ 73819 w 210121"/>
                <a:gd name="connsiteY6" fmla="*/ 0 h 140970"/>
                <a:gd name="connsiteX7" fmla="*/ 98965 w 210121"/>
                <a:gd name="connsiteY7" fmla="*/ 6763 h 140970"/>
                <a:gd name="connsiteX8" fmla="*/ 114681 w 210121"/>
                <a:gd name="connsiteY8" fmla="*/ 24575 h 140970"/>
                <a:gd name="connsiteX9" fmla="*/ 134493 w 210121"/>
                <a:gd name="connsiteY9" fmla="*/ 6763 h 140970"/>
                <a:gd name="connsiteX10" fmla="*/ 161639 w 210121"/>
                <a:gd name="connsiteY10" fmla="*/ 0 h 140970"/>
                <a:gd name="connsiteX11" fmla="*/ 197263 w 210121"/>
                <a:gd name="connsiteY11" fmla="*/ 13716 h 140970"/>
                <a:gd name="connsiteX12" fmla="*/ 210122 w 210121"/>
                <a:gd name="connsiteY12" fmla="*/ 52768 h 140970"/>
                <a:gd name="connsiteX13" fmla="*/ 210122 w 210121"/>
                <a:gd name="connsiteY13" fmla="*/ 140875 h 140970"/>
                <a:gd name="connsiteX14" fmla="*/ 178213 w 210121"/>
                <a:gd name="connsiteY14" fmla="*/ 140875 h 140970"/>
                <a:gd name="connsiteX15" fmla="*/ 178213 w 210121"/>
                <a:gd name="connsiteY15" fmla="*/ 62675 h 140970"/>
                <a:gd name="connsiteX16" fmla="*/ 170974 w 210121"/>
                <a:gd name="connsiteY16" fmla="*/ 37624 h 140970"/>
                <a:gd name="connsiteX17" fmla="*/ 150400 w 210121"/>
                <a:gd name="connsiteY17" fmla="*/ 29051 h 140970"/>
                <a:gd name="connsiteX18" fmla="*/ 129254 w 210121"/>
                <a:gd name="connsiteY18" fmla="*/ 37814 h 140970"/>
                <a:gd name="connsiteX19" fmla="*/ 121063 w 210121"/>
                <a:gd name="connsiteY19" fmla="*/ 63246 h 140970"/>
                <a:gd name="connsiteX20" fmla="*/ 121063 w 210121"/>
                <a:gd name="connsiteY20" fmla="*/ 140970 h 140970"/>
                <a:gd name="connsiteX21" fmla="*/ 89154 w 210121"/>
                <a:gd name="connsiteY21" fmla="*/ 140970 h 140970"/>
                <a:gd name="connsiteX22" fmla="*/ 89154 w 210121"/>
                <a:gd name="connsiteY22" fmla="*/ 62484 h 140970"/>
                <a:gd name="connsiteX23" fmla="*/ 81915 w 210121"/>
                <a:gd name="connsiteY23" fmla="*/ 37719 h 140970"/>
                <a:gd name="connsiteX24" fmla="*/ 61341 w 210121"/>
                <a:gd name="connsiteY24" fmla="*/ 29146 h 140970"/>
                <a:gd name="connsiteX25" fmla="*/ 40005 w 210121"/>
                <a:gd name="connsiteY25" fmla="*/ 38291 h 140970"/>
                <a:gd name="connsiteX26" fmla="*/ 31909 w 210121"/>
                <a:gd name="connsiteY26" fmla="*/ 63532 h 140970"/>
                <a:gd name="connsiteX27" fmla="*/ 31909 w 210121"/>
                <a:gd name="connsiteY27" fmla="*/ 140970 h 140970"/>
                <a:gd name="connsiteX28" fmla="*/ 0 w 210121"/>
                <a:gd name="connsiteY28" fmla="*/ 140970 h 140970"/>
                <a:gd name="connsiteX29" fmla="*/ 0 w 210121"/>
                <a:gd name="connsiteY29" fmla="*/ 3048 h 14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0121" h="140970">
                  <a:moveTo>
                    <a:pt x="0" y="2858"/>
                  </a:moveTo>
                  <a:lnTo>
                    <a:pt x="31909" y="2858"/>
                  </a:lnTo>
                  <a:lnTo>
                    <a:pt x="31909" y="24003"/>
                  </a:lnTo>
                  <a:cubicBezTo>
                    <a:pt x="34195" y="20860"/>
                    <a:pt x="36576" y="17812"/>
                    <a:pt x="39243" y="15050"/>
                  </a:cubicBezTo>
                  <a:cubicBezTo>
                    <a:pt x="41815" y="12287"/>
                    <a:pt x="44863" y="9716"/>
                    <a:pt x="48196" y="7429"/>
                  </a:cubicBezTo>
                  <a:cubicBezTo>
                    <a:pt x="51626" y="5143"/>
                    <a:pt x="55435" y="3334"/>
                    <a:pt x="59626" y="2000"/>
                  </a:cubicBezTo>
                  <a:cubicBezTo>
                    <a:pt x="63913" y="667"/>
                    <a:pt x="68580" y="0"/>
                    <a:pt x="73819" y="0"/>
                  </a:cubicBezTo>
                  <a:cubicBezTo>
                    <a:pt x="83725" y="0"/>
                    <a:pt x="92107" y="2286"/>
                    <a:pt x="98965" y="6763"/>
                  </a:cubicBezTo>
                  <a:cubicBezTo>
                    <a:pt x="105823" y="11239"/>
                    <a:pt x="111062" y="17145"/>
                    <a:pt x="114681" y="24575"/>
                  </a:cubicBezTo>
                  <a:cubicBezTo>
                    <a:pt x="120301" y="17240"/>
                    <a:pt x="126873" y="11239"/>
                    <a:pt x="134493" y="6763"/>
                  </a:cubicBezTo>
                  <a:cubicBezTo>
                    <a:pt x="142113" y="2286"/>
                    <a:pt x="151162" y="0"/>
                    <a:pt x="161639" y="0"/>
                  </a:cubicBezTo>
                  <a:cubicBezTo>
                    <a:pt x="176879" y="0"/>
                    <a:pt x="188690" y="4572"/>
                    <a:pt x="197263" y="13716"/>
                  </a:cubicBezTo>
                  <a:cubicBezTo>
                    <a:pt x="205835" y="22860"/>
                    <a:pt x="210122" y="35909"/>
                    <a:pt x="210122" y="52768"/>
                  </a:cubicBezTo>
                  <a:lnTo>
                    <a:pt x="210122" y="140875"/>
                  </a:lnTo>
                  <a:lnTo>
                    <a:pt x="178213" y="140875"/>
                  </a:lnTo>
                  <a:lnTo>
                    <a:pt x="178213" y="62675"/>
                  </a:lnTo>
                  <a:cubicBezTo>
                    <a:pt x="178213" y="51721"/>
                    <a:pt x="175832" y="43339"/>
                    <a:pt x="170974" y="37624"/>
                  </a:cubicBezTo>
                  <a:cubicBezTo>
                    <a:pt x="166116" y="31909"/>
                    <a:pt x="159258" y="29051"/>
                    <a:pt x="150400" y="29051"/>
                  </a:cubicBezTo>
                  <a:cubicBezTo>
                    <a:pt x="141541" y="29051"/>
                    <a:pt x="134683" y="32004"/>
                    <a:pt x="129254" y="37814"/>
                  </a:cubicBezTo>
                  <a:cubicBezTo>
                    <a:pt x="123825" y="43625"/>
                    <a:pt x="121063" y="52102"/>
                    <a:pt x="121063" y="63246"/>
                  </a:cubicBezTo>
                  <a:lnTo>
                    <a:pt x="121063" y="140970"/>
                  </a:lnTo>
                  <a:lnTo>
                    <a:pt x="89154" y="140970"/>
                  </a:lnTo>
                  <a:lnTo>
                    <a:pt x="89154" y="62484"/>
                  </a:lnTo>
                  <a:cubicBezTo>
                    <a:pt x="89154" y="51721"/>
                    <a:pt x="86677" y="43434"/>
                    <a:pt x="81915" y="37719"/>
                  </a:cubicBezTo>
                  <a:cubicBezTo>
                    <a:pt x="77057" y="32004"/>
                    <a:pt x="70199" y="29146"/>
                    <a:pt x="61341" y="29146"/>
                  </a:cubicBezTo>
                  <a:cubicBezTo>
                    <a:pt x="52483" y="29146"/>
                    <a:pt x="45434" y="32195"/>
                    <a:pt x="40005" y="38291"/>
                  </a:cubicBezTo>
                  <a:cubicBezTo>
                    <a:pt x="34671" y="44387"/>
                    <a:pt x="31909" y="52768"/>
                    <a:pt x="31909" y="63532"/>
                  </a:cubicBezTo>
                  <a:lnTo>
                    <a:pt x="31909" y="140970"/>
                  </a:lnTo>
                  <a:lnTo>
                    <a:pt x="0" y="140970"/>
                  </a:lnTo>
                  <a:lnTo>
                    <a:pt x="0" y="3048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4FC5502-733E-AED8-B543-3731E4FA93D1}"/>
                </a:ext>
              </a:extLst>
            </p:cNvPr>
            <p:cNvSpPr/>
            <p:nvPr/>
          </p:nvSpPr>
          <p:spPr>
            <a:xfrm>
              <a:off x="1434147" y="4227131"/>
              <a:ext cx="123920" cy="140874"/>
            </a:xfrm>
            <a:custGeom>
              <a:avLst/>
              <a:gdLst>
                <a:gd name="connsiteX0" fmla="*/ 95 w 123920"/>
                <a:gd name="connsiteY0" fmla="*/ 2953 h 140874"/>
                <a:gd name="connsiteX1" fmla="*/ 32004 w 123920"/>
                <a:gd name="connsiteY1" fmla="*/ 2953 h 140874"/>
                <a:gd name="connsiteX2" fmla="*/ 32004 w 123920"/>
                <a:gd name="connsiteY2" fmla="*/ 24574 h 140874"/>
                <a:gd name="connsiteX3" fmla="*/ 39433 w 123920"/>
                <a:gd name="connsiteY3" fmla="*/ 15240 h 140874"/>
                <a:gd name="connsiteX4" fmla="*/ 48768 w 123920"/>
                <a:gd name="connsiteY4" fmla="*/ 7429 h 140874"/>
                <a:gd name="connsiteX5" fmla="*/ 60484 w 123920"/>
                <a:gd name="connsiteY5" fmla="*/ 2000 h 140874"/>
                <a:gd name="connsiteX6" fmla="*/ 74962 w 123920"/>
                <a:gd name="connsiteY6" fmla="*/ 0 h 140874"/>
                <a:gd name="connsiteX7" fmla="*/ 111157 w 123920"/>
                <a:gd name="connsiteY7" fmla="*/ 14383 h 140874"/>
                <a:gd name="connsiteX8" fmla="*/ 123920 w 123920"/>
                <a:gd name="connsiteY8" fmla="*/ 53054 h 140874"/>
                <a:gd name="connsiteX9" fmla="*/ 123920 w 123920"/>
                <a:gd name="connsiteY9" fmla="*/ 140875 h 140874"/>
                <a:gd name="connsiteX10" fmla="*/ 92012 w 123920"/>
                <a:gd name="connsiteY10" fmla="*/ 140875 h 140874"/>
                <a:gd name="connsiteX11" fmla="*/ 92012 w 123920"/>
                <a:gd name="connsiteY11" fmla="*/ 62674 h 140874"/>
                <a:gd name="connsiteX12" fmla="*/ 84391 w 123920"/>
                <a:gd name="connsiteY12" fmla="*/ 37814 h 140874"/>
                <a:gd name="connsiteX13" fmla="*/ 62770 w 123920"/>
                <a:gd name="connsiteY13" fmla="*/ 29051 h 140874"/>
                <a:gd name="connsiteX14" fmla="*/ 40481 w 123920"/>
                <a:gd name="connsiteY14" fmla="*/ 38005 h 140874"/>
                <a:gd name="connsiteX15" fmla="*/ 31909 w 123920"/>
                <a:gd name="connsiteY15" fmla="*/ 63151 h 140874"/>
                <a:gd name="connsiteX16" fmla="*/ 31909 w 123920"/>
                <a:gd name="connsiteY16" fmla="*/ 140875 h 140874"/>
                <a:gd name="connsiteX17" fmla="*/ 0 w 123920"/>
                <a:gd name="connsiteY17" fmla="*/ 140875 h 140874"/>
                <a:gd name="connsiteX18" fmla="*/ 0 w 123920"/>
                <a:gd name="connsiteY18" fmla="*/ 2953 h 14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920" h="140874">
                  <a:moveTo>
                    <a:pt x="95" y="2953"/>
                  </a:moveTo>
                  <a:lnTo>
                    <a:pt x="32004" y="2953"/>
                  </a:lnTo>
                  <a:lnTo>
                    <a:pt x="32004" y="24574"/>
                  </a:lnTo>
                  <a:cubicBezTo>
                    <a:pt x="34290" y="21241"/>
                    <a:pt x="36766" y="18097"/>
                    <a:pt x="39433" y="15240"/>
                  </a:cubicBezTo>
                  <a:cubicBezTo>
                    <a:pt x="42100" y="12382"/>
                    <a:pt x="45244" y="9715"/>
                    <a:pt x="48768" y="7429"/>
                  </a:cubicBezTo>
                  <a:cubicBezTo>
                    <a:pt x="52292" y="5143"/>
                    <a:pt x="56293" y="3334"/>
                    <a:pt x="60484" y="2000"/>
                  </a:cubicBezTo>
                  <a:cubicBezTo>
                    <a:pt x="64675" y="667"/>
                    <a:pt x="69532" y="0"/>
                    <a:pt x="74962" y="0"/>
                  </a:cubicBezTo>
                  <a:cubicBezTo>
                    <a:pt x="90583" y="0"/>
                    <a:pt x="102679" y="4763"/>
                    <a:pt x="111157" y="14383"/>
                  </a:cubicBezTo>
                  <a:cubicBezTo>
                    <a:pt x="119634" y="24003"/>
                    <a:pt x="123920" y="36862"/>
                    <a:pt x="123920" y="53054"/>
                  </a:cubicBezTo>
                  <a:lnTo>
                    <a:pt x="123920" y="140875"/>
                  </a:lnTo>
                  <a:lnTo>
                    <a:pt x="92012" y="140875"/>
                  </a:lnTo>
                  <a:lnTo>
                    <a:pt x="92012" y="62674"/>
                  </a:lnTo>
                  <a:cubicBezTo>
                    <a:pt x="92012" y="51911"/>
                    <a:pt x="89440" y="43624"/>
                    <a:pt x="84391" y="37814"/>
                  </a:cubicBezTo>
                  <a:cubicBezTo>
                    <a:pt x="79343" y="32004"/>
                    <a:pt x="72104" y="29051"/>
                    <a:pt x="62770" y="29051"/>
                  </a:cubicBezTo>
                  <a:cubicBezTo>
                    <a:pt x="53435" y="29051"/>
                    <a:pt x="46196" y="32099"/>
                    <a:pt x="40481" y="38005"/>
                  </a:cubicBezTo>
                  <a:cubicBezTo>
                    <a:pt x="34766" y="44005"/>
                    <a:pt x="31909" y="52388"/>
                    <a:pt x="31909" y="63151"/>
                  </a:cubicBezTo>
                  <a:lnTo>
                    <a:pt x="31909" y="140875"/>
                  </a:lnTo>
                  <a:lnTo>
                    <a:pt x="0" y="140875"/>
                  </a:lnTo>
                  <a:lnTo>
                    <a:pt x="0" y="2953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F91486B-363F-3D0D-587D-1C3FA5F8F429}"/>
                </a:ext>
              </a:extLst>
            </p:cNvPr>
            <p:cNvSpPr/>
            <p:nvPr/>
          </p:nvSpPr>
          <p:spPr>
            <a:xfrm>
              <a:off x="1588643" y="4227321"/>
              <a:ext cx="147161" cy="143922"/>
            </a:xfrm>
            <a:custGeom>
              <a:avLst/>
              <a:gdLst>
                <a:gd name="connsiteX0" fmla="*/ 73152 w 147161"/>
                <a:gd name="connsiteY0" fmla="*/ 143923 h 143922"/>
                <a:gd name="connsiteX1" fmla="*/ 44005 w 147161"/>
                <a:gd name="connsiteY1" fmla="*/ 138303 h 143922"/>
                <a:gd name="connsiteX2" fmla="*/ 20765 w 147161"/>
                <a:gd name="connsiteY2" fmla="*/ 123063 h 143922"/>
                <a:gd name="connsiteX3" fmla="*/ 5524 w 147161"/>
                <a:gd name="connsiteY3" fmla="*/ 100298 h 143922"/>
                <a:gd name="connsiteX4" fmla="*/ 0 w 147161"/>
                <a:gd name="connsiteY4" fmla="*/ 72581 h 143922"/>
                <a:gd name="connsiteX5" fmla="*/ 0 w 147161"/>
                <a:gd name="connsiteY5" fmla="*/ 72104 h 143922"/>
                <a:gd name="connsiteX6" fmla="*/ 5620 w 147161"/>
                <a:gd name="connsiteY6" fmla="*/ 44101 h 143922"/>
                <a:gd name="connsiteX7" fmla="*/ 21050 w 147161"/>
                <a:gd name="connsiteY7" fmla="*/ 21241 h 143922"/>
                <a:gd name="connsiteX8" fmla="*/ 44291 w 147161"/>
                <a:gd name="connsiteY8" fmla="*/ 5715 h 143922"/>
                <a:gd name="connsiteX9" fmla="*/ 73723 w 147161"/>
                <a:gd name="connsiteY9" fmla="*/ 0 h 143922"/>
                <a:gd name="connsiteX10" fmla="*/ 103156 w 147161"/>
                <a:gd name="connsiteY10" fmla="*/ 5620 h 143922"/>
                <a:gd name="connsiteX11" fmla="*/ 126397 w 147161"/>
                <a:gd name="connsiteY11" fmla="*/ 21050 h 143922"/>
                <a:gd name="connsiteX12" fmla="*/ 141637 w 147161"/>
                <a:gd name="connsiteY12" fmla="*/ 43815 h 143922"/>
                <a:gd name="connsiteX13" fmla="*/ 147161 w 147161"/>
                <a:gd name="connsiteY13" fmla="*/ 71628 h 143922"/>
                <a:gd name="connsiteX14" fmla="*/ 147161 w 147161"/>
                <a:gd name="connsiteY14" fmla="*/ 72104 h 143922"/>
                <a:gd name="connsiteX15" fmla="*/ 141542 w 147161"/>
                <a:gd name="connsiteY15" fmla="*/ 99822 h 143922"/>
                <a:gd name="connsiteX16" fmla="*/ 126111 w 147161"/>
                <a:gd name="connsiteY16" fmla="*/ 122682 h 143922"/>
                <a:gd name="connsiteX17" fmla="*/ 102679 w 147161"/>
                <a:gd name="connsiteY17" fmla="*/ 138208 h 143922"/>
                <a:gd name="connsiteX18" fmla="*/ 73152 w 147161"/>
                <a:gd name="connsiteY18" fmla="*/ 143923 h 143922"/>
                <a:gd name="connsiteX19" fmla="*/ 73723 w 147161"/>
                <a:gd name="connsiteY19" fmla="*/ 116491 h 143922"/>
                <a:gd name="connsiteX20" fmla="*/ 90964 w 147161"/>
                <a:gd name="connsiteY20" fmla="*/ 112967 h 143922"/>
                <a:gd name="connsiteX21" fmla="*/ 104108 w 147161"/>
                <a:gd name="connsiteY21" fmla="*/ 103442 h 143922"/>
                <a:gd name="connsiteX22" fmla="*/ 112395 w 147161"/>
                <a:gd name="connsiteY22" fmla="*/ 89440 h 143922"/>
                <a:gd name="connsiteX23" fmla="*/ 115252 w 147161"/>
                <a:gd name="connsiteY23" fmla="*/ 72581 h 143922"/>
                <a:gd name="connsiteX24" fmla="*/ 115252 w 147161"/>
                <a:gd name="connsiteY24" fmla="*/ 72104 h 143922"/>
                <a:gd name="connsiteX25" fmla="*/ 112109 w 147161"/>
                <a:gd name="connsiteY25" fmla="*/ 54864 h 143922"/>
                <a:gd name="connsiteX26" fmla="*/ 103442 w 147161"/>
                <a:gd name="connsiteY26" fmla="*/ 40767 h 143922"/>
                <a:gd name="connsiteX27" fmla="*/ 90202 w 147161"/>
                <a:gd name="connsiteY27" fmla="*/ 31242 h 143922"/>
                <a:gd name="connsiteX28" fmla="*/ 73152 w 147161"/>
                <a:gd name="connsiteY28" fmla="*/ 27718 h 143922"/>
                <a:gd name="connsiteX29" fmla="*/ 56102 w 147161"/>
                <a:gd name="connsiteY29" fmla="*/ 31242 h 143922"/>
                <a:gd name="connsiteX30" fmla="*/ 42958 w 147161"/>
                <a:gd name="connsiteY30" fmla="*/ 40672 h 143922"/>
                <a:gd name="connsiteX31" fmla="*/ 34671 w 147161"/>
                <a:gd name="connsiteY31" fmla="*/ 54674 h 143922"/>
                <a:gd name="connsiteX32" fmla="*/ 31813 w 147161"/>
                <a:gd name="connsiteY32" fmla="*/ 71628 h 143922"/>
                <a:gd name="connsiteX33" fmla="*/ 31813 w 147161"/>
                <a:gd name="connsiteY33" fmla="*/ 72104 h 143922"/>
                <a:gd name="connsiteX34" fmla="*/ 34957 w 147161"/>
                <a:gd name="connsiteY34" fmla="*/ 89249 h 143922"/>
                <a:gd name="connsiteX35" fmla="*/ 43624 w 147161"/>
                <a:gd name="connsiteY35" fmla="*/ 103346 h 143922"/>
                <a:gd name="connsiteX36" fmla="*/ 56864 w 147161"/>
                <a:gd name="connsiteY36" fmla="*/ 112967 h 143922"/>
                <a:gd name="connsiteX37" fmla="*/ 73628 w 147161"/>
                <a:gd name="connsiteY37" fmla="*/ 116491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47161" h="143922">
                  <a:moveTo>
                    <a:pt x="73152" y="143923"/>
                  </a:moveTo>
                  <a:cubicBezTo>
                    <a:pt x="62674" y="143923"/>
                    <a:pt x="52959" y="142018"/>
                    <a:pt x="44005" y="138303"/>
                  </a:cubicBezTo>
                  <a:cubicBezTo>
                    <a:pt x="35052" y="134588"/>
                    <a:pt x="27242" y="129445"/>
                    <a:pt x="20765" y="123063"/>
                  </a:cubicBezTo>
                  <a:cubicBezTo>
                    <a:pt x="14288" y="116681"/>
                    <a:pt x="9144" y="109061"/>
                    <a:pt x="5524" y="100298"/>
                  </a:cubicBezTo>
                  <a:cubicBezTo>
                    <a:pt x="1905" y="91631"/>
                    <a:pt x="0" y="82391"/>
                    <a:pt x="0" y="72581"/>
                  </a:cubicBezTo>
                  <a:lnTo>
                    <a:pt x="0" y="72104"/>
                  </a:lnTo>
                  <a:cubicBezTo>
                    <a:pt x="0" y="62198"/>
                    <a:pt x="1905" y="52864"/>
                    <a:pt x="5620" y="44101"/>
                  </a:cubicBezTo>
                  <a:cubicBezTo>
                    <a:pt x="9334" y="35433"/>
                    <a:pt x="14478" y="27813"/>
                    <a:pt x="21050" y="21241"/>
                  </a:cubicBezTo>
                  <a:cubicBezTo>
                    <a:pt x="27622" y="14669"/>
                    <a:pt x="35338" y="9525"/>
                    <a:pt x="44291" y="5715"/>
                  </a:cubicBezTo>
                  <a:cubicBezTo>
                    <a:pt x="53245" y="1905"/>
                    <a:pt x="63055" y="0"/>
                    <a:pt x="73723" y="0"/>
                  </a:cubicBezTo>
                  <a:cubicBezTo>
                    <a:pt x="84392" y="0"/>
                    <a:pt x="94107" y="1905"/>
                    <a:pt x="103156" y="5620"/>
                  </a:cubicBezTo>
                  <a:cubicBezTo>
                    <a:pt x="112109" y="9335"/>
                    <a:pt x="119920" y="14478"/>
                    <a:pt x="126397" y="21050"/>
                  </a:cubicBezTo>
                  <a:cubicBezTo>
                    <a:pt x="132969" y="27623"/>
                    <a:pt x="138017" y="35147"/>
                    <a:pt x="141637" y="43815"/>
                  </a:cubicBezTo>
                  <a:cubicBezTo>
                    <a:pt x="145256" y="52483"/>
                    <a:pt x="147161" y="61722"/>
                    <a:pt x="147161" y="71628"/>
                  </a:cubicBezTo>
                  <a:lnTo>
                    <a:pt x="147161" y="72104"/>
                  </a:lnTo>
                  <a:cubicBezTo>
                    <a:pt x="147161" y="81820"/>
                    <a:pt x="145256" y="91059"/>
                    <a:pt x="141542" y="99822"/>
                  </a:cubicBezTo>
                  <a:cubicBezTo>
                    <a:pt x="137827" y="108585"/>
                    <a:pt x="132683" y="116110"/>
                    <a:pt x="126111" y="122682"/>
                  </a:cubicBezTo>
                  <a:cubicBezTo>
                    <a:pt x="119539" y="129254"/>
                    <a:pt x="111823" y="134398"/>
                    <a:pt x="102679" y="138208"/>
                  </a:cubicBezTo>
                  <a:cubicBezTo>
                    <a:pt x="93631" y="142018"/>
                    <a:pt x="83725" y="143923"/>
                    <a:pt x="73152" y="143923"/>
                  </a:cubicBezTo>
                  <a:close/>
                  <a:moveTo>
                    <a:pt x="73723" y="116491"/>
                  </a:moveTo>
                  <a:cubicBezTo>
                    <a:pt x="80105" y="116491"/>
                    <a:pt x="85915" y="115348"/>
                    <a:pt x="90964" y="112967"/>
                  </a:cubicBezTo>
                  <a:cubicBezTo>
                    <a:pt x="96107" y="110585"/>
                    <a:pt x="100489" y="107442"/>
                    <a:pt x="104108" y="103442"/>
                  </a:cubicBezTo>
                  <a:cubicBezTo>
                    <a:pt x="107728" y="99441"/>
                    <a:pt x="110490" y="94774"/>
                    <a:pt x="112395" y="89440"/>
                  </a:cubicBezTo>
                  <a:cubicBezTo>
                    <a:pt x="114300" y="84106"/>
                    <a:pt x="115252" y="78486"/>
                    <a:pt x="115252" y="72581"/>
                  </a:cubicBezTo>
                  <a:lnTo>
                    <a:pt x="115252" y="72104"/>
                  </a:lnTo>
                  <a:cubicBezTo>
                    <a:pt x="115252" y="66008"/>
                    <a:pt x="114205" y="60293"/>
                    <a:pt x="112109" y="54864"/>
                  </a:cubicBezTo>
                  <a:cubicBezTo>
                    <a:pt x="110014" y="49435"/>
                    <a:pt x="107156" y="44767"/>
                    <a:pt x="103442" y="40767"/>
                  </a:cubicBezTo>
                  <a:cubicBezTo>
                    <a:pt x="99727" y="36767"/>
                    <a:pt x="95345" y="33623"/>
                    <a:pt x="90202" y="31242"/>
                  </a:cubicBezTo>
                  <a:cubicBezTo>
                    <a:pt x="85058" y="28861"/>
                    <a:pt x="79438" y="27718"/>
                    <a:pt x="73152" y="27718"/>
                  </a:cubicBezTo>
                  <a:cubicBezTo>
                    <a:pt x="66865" y="27718"/>
                    <a:pt x="61246" y="28861"/>
                    <a:pt x="56102" y="31242"/>
                  </a:cubicBezTo>
                  <a:cubicBezTo>
                    <a:pt x="50959" y="33623"/>
                    <a:pt x="46577" y="36767"/>
                    <a:pt x="42958" y="40672"/>
                  </a:cubicBezTo>
                  <a:cubicBezTo>
                    <a:pt x="39338" y="44577"/>
                    <a:pt x="36576" y="49244"/>
                    <a:pt x="34671" y="54674"/>
                  </a:cubicBezTo>
                  <a:cubicBezTo>
                    <a:pt x="32766" y="60103"/>
                    <a:pt x="31813" y="65723"/>
                    <a:pt x="31813" y="71628"/>
                  </a:cubicBezTo>
                  <a:lnTo>
                    <a:pt x="31813" y="72104"/>
                  </a:lnTo>
                  <a:cubicBezTo>
                    <a:pt x="31813" y="78200"/>
                    <a:pt x="32861" y="83915"/>
                    <a:pt x="34957" y="89249"/>
                  </a:cubicBezTo>
                  <a:cubicBezTo>
                    <a:pt x="37052" y="94583"/>
                    <a:pt x="39910" y="99250"/>
                    <a:pt x="43624" y="103346"/>
                  </a:cubicBezTo>
                  <a:cubicBezTo>
                    <a:pt x="47339" y="107442"/>
                    <a:pt x="51721" y="110681"/>
                    <a:pt x="56864" y="112967"/>
                  </a:cubicBezTo>
                  <a:cubicBezTo>
                    <a:pt x="62008" y="115348"/>
                    <a:pt x="67532" y="116491"/>
                    <a:pt x="73628" y="116491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B9D595E-DB4B-EE13-4478-EB6738A9292E}"/>
                </a:ext>
              </a:extLst>
            </p:cNvPr>
            <p:cNvSpPr/>
            <p:nvPr/>
          </p:nvSpPr>
          <p:spPr>
            <a:xfrm>
              <a:off x="1756568" y="4227893"/>
              <a:ext cx="109823" cy="142970"/>
            </a:xfrm>
            <a:custGeom>
              <a:avLst/>
              <a:gdLst>
                <a:gd name="connsiteX0" fmla="*/ 58579 w 109823"/>
                <a:gd name="connsiteY0" fmla="*/ 142780 h 142970"/>
                <a:gd name="connsiteX1" fmla="*/ 28385 w 109823"/>
                <a:gd name="connsiteY1" fmla="*/ 137541 h 142970"/>
                <a:gd name="connsiteX2" fmla="*/ 0 w 109823"/>
                <a:gd name="connsiteY2" fmla="*/ 121920 h 142970"/>
                <a:gd name="connsiteX3" fmla="*/ 14097 w 109823"/>
                <a:gd name="connsiteY3" fmla="*/ 100489 h 142970"/>
                <a:gd name="connsiteX4" fmla="*/ 36957 w 109823"/>
                <a:gd name="connsiteY4" fmla="*/ 113157 h 142970"/>
                <a:gd name="connsiteX5" fmla="*/ 59341 w 109823"/>
                <a:gd name="connsiteY5" fmla="*/ 117443 h 142970"/>
                <a:gd name="connsiteX6" fmla="*/ 75152 w 109823"/>
                <a:gd name="connsiteY6" fmla="*/ 113443 h 142970"/>
                <a:gd name="connsiteX7" fmla="*/ 80772 w 109823"/>
                <a:gd name="connsiteY7" fmla="*/ 102584 h 142970"/>
                <a:gd name="connsiteX8" fmla="*/ 80772 w 109823"/>
                <a:gd name="connsiteY8" fmla="*/ 102108 h 142970"/>
                <a:gd name="connsiteX9" fmla="*/ 78296 w 109823"/>
                <a:gd name="connsiteY9" fmla="*/ 95345 h 142970"/>
                <a:gd name="connsiteX10" fmla="*/ 71533 w 109823"/>
                <a:gd name="connsiteY10" fmla="*/ 90392 h 142970"/>
                <a:gd name="connsiteX11" fmla="*/ 61627 w 109823"/>
                <a:gd name="connsiteY11" fmla="*/ 86487 h 142970"/>
                <a:gd name="connsiteX12" fmla="*/ 50006 w 109823"/>
                <a:gd name="connsiteY12" fmla="*/ 82868 h 142970"/>
                <a:gd name="connsiteX13" fmla="*/ 34671 w 109823"/>
                <a:gd name="connsiteY13" fmla="*/ 77915 h 142970"/>
                <a:gd name="connsiteX14" fmla="*/ 20860 w 109823"/>
                <a:gd name="connsiteY14" fmla="*/ 70485 h 142970"/>
                <a:gd name="connsiteX15" fmla="*/ 10763 w 109823"/>
                <a:gd name="connsiteY15" fmla="*/ 59150 h 142970"/>
                <a:gd name="connsiteX16" fmla="*/ 6858 w 109823"/>
                <a:gd name="connsiteY16" fmla="*/ 42482 h 142970"/>
                <a:gd name="connsiteX17" fmla="*/ 6858 w 109823"/>
                <a:gd name="connsiteY17" fmla="*/ 42005 h 142970"/>
                <a:gd name="connsiteX18" fmla="*/ 10668 w 109823"/>
                <a:gd name="connsiteY18" fmla="*/ 24575 h 142970"/>
                <a:gd name="connsiteX19" fmla="*/ 21146 w 109823"/>
                <a:gd name="connsiteY19" fmla="*/ 11240 h 142970"/>
                <a:gd name="connsiteX20" fmla="*/ 36862 w 109823"/>
                <a:gd name="connsiteY20" fmla="*/ 2858 h 142970"/>
                <a:gd name="connsiteX21" fmla="*/ 56102 w 109823"/>
                <a:gd name="connsiteY21" fmla="*/ 0 h 142970"/>
                <a:gd name="connsiteX22" fmla="*/ 82487 w 109823"/>
                <a:gd name="connsiteY22" fmla="*/ 4191 h 142970"/>
                <a:gd name="connsiteX23" fmla="*/ 106775 w 109823"/>
                <a:gd name="connsiteY23" fmla="*/ 15812 h 142970"/>
                <a:gd name="connsiteX24" fmla="*/ 94202 w 109823"/>
                <a:gd name="connsiteY24" fmla="*/ 38386 h 142970"/>
                <a:gd name="connsiteX25" fmla="*/ 74104 w 109823"/>
                <a:gd name="connsiteY25" fmla="*/ 28861 h 142970"/>
                <a:gd name="connsiteX26" fmla="*/ 55245 w 109823"/>
                <a:gd name="connsiteY26" fmla="*/ 25337 h 142970"/>
                <a:gd name="connsiteX27" fmla="*/ 40958 w 109823"/>
                <a:gd name="connsiteY27" fmla="*/ 29242 h 142970"/>
                <a:gd name="connsiteX28" fmla="*/ 35909 w 109823"/>
                <a:gd name="connsiteY28" fmla="*/ 39148 h 142970"/>
                <a:gd name="connsiteX29" fmla="*/ 35909 w 109823"/>
                <a:gd name="connsiteY29" fmla="*/ 39719 h 142970"/>
                <a:gd name="connsiteX30" fmla="*/ 38481 w 109823"/>
                <a:gd name="connsiteY30" fmla="*/ 46101 h 142970"/>
                <a:gd name="connsiteX31" fmla="*/ 45434 w 109823"/>
                <a:gd name="connsiteY31" fmla="*/ 51054 h 142970"/>
                <a:gd name="connsiteX32" fmla="*/ 55340 w 109823"/>
                <a:gd name="connsiteY32" fmla="*/ 55245 h 142970"/>
                <a:gd name="connsiteX33" fmla="*/ 66961 w 109823"/>
                <a:gd name="connsiteY33" fmla="*/ 59055 h 142970"/>
                <a:gd name="connsiteX34" fmla="*/ 82106 w 109823"/>
                <a:gd name="connsiteY34" fmla="*/ 64484 h 142970"/>
                <a:gd name="connsiteX35" fmla="*/ 95821 w 109823"/>
                <a:gd name="connsiteY35" fmla="*/ 72200 h 142970"/>
                <a:gd name="connsiteX36" fmla="*/ 105918 w 109823"/>
                <a:gd name="connsiteY36" fmla="*/ 83249 h 142970"/>
                <a:gd name="connsiteX37" fmla="*/ 109823 w 109823"/>
                <a:gd name="connsiteY37" fmla="*/ 99155 h 142970"/>
                <a:gd name="connsiteX38" fmla="*/ 109823 w 109823"/>
                <a:gd name="connsiteY38" fmla="*/ 99632 h 142970"/>
                <a:gd name="connsiteX39" fmla="*/ 105918 w 109823"/>
                <a:gd name="connsiteY39" fmla="*/ 118682 h 142970"/>
                <a:gd name="connsiteX40" fmla="*/ 95060 w 109823"/>
                <a:gd name="connsiteY40" fmla="*/ 132112 h 142970"/>
                <a:gd name="connsiteX41" fmla="*/ 78772 w 109823"/>
                <a:gd name="connsiteY41" fmla="*/ 140208 h 142970"/>
                <a:gd name="connsiteX42" fmla="*/ 58674 w 109823"/>
                <a:gd name="connsiteY42" fmla="*/ 142970 h 14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9823" h="142970">
                  <a:moveTo>
                    <a:pt x="58579" y="142780"/>
                  </a:moveTo>
                  <a:cubicBezTo>
                    <a:pt x="48673" y="142780"/>
                    <a:pt x="38576" y="140970"/>
                    <a:pt x="28385" y="137541"/>
                  </a:cubicBezTo>
                  <a:cubicBezTo>
                    <a:pt x="18193" y="134017"/>
                    <a:pt x="8763" y="128873"/>
                    <a:pt x="0" y="121920"/>
                  </a:cubicBezTo>
                  <a:lnTo>
                    <a:pt x="14097" y="100489"/>
                  </a:lnTo>
                  <a:cubicBezTo>
                    <a:pt x="21622" y="106108"/>
                    <a:pt x="29242" y="110300"/>
                    <a:pt x="36957" y="113157"/>
                  </a:cubicBezTo>
                  <a:cubicBezTo>
                    <a:pt x="44672" y="116015"/>
                    <a:pt x="52197" y="117443"/>
                    <a:pt x="59341" y="117443"/>
                  </a:cubicBezTo>
                  <a:cubicBezTo>
                    <a:pt x="66485" y="117443"/>
                    <a:pt x="71438" y="116110"/>
                    <a:pt x="75152" y="113443"/>
                  </a:cubicBezTo>
                  <a:cubicBezTo>
                    <a:pt x="78867" y="110776"/>
                    <a:pt x="80772" y="107156"/>
                    <a:pt x="80772" y="102584"/>
                  </a:cubicBezTo>
                  <a:lnTo>
                    <a:pt x="80772" y="102108"/>
                  </a:lnTo>
                  <a:cubicBezTo>
                    <a:pt x="80772" y="99536"/>
                    <a:pt x="79915" y="97250"/>
                    <a:pt x="78296" y="95345"/>
                  </a:cubicBezTo>
                  <a:cubicBezTo>
                    <a:pt x="76676" y="93440"/>
                    <a:pt x="74390" y="91821"/>
                    <a:pt x="71533" y="90392"/>
                  </a:cubicBezTo>
                  <a:cubicBezTo>
                    <a:pt x="68675" y="88964"/>
                    <a:pt x="65342" y="87725"/>
                    <a:pt x="61627" y="86487"/>
                  </a:cubicBezTo>
                  <a:cubicBezTo>
                    <a:pt x="57912" y="85249"/>
                    <a:pt x="54007" y="84011"/>
                    <a:pt x="50006" y="82868"/>
                  </a:cubicBezTo>
                  <a:cubicBezTo>
                    <a:pt x="44958" y="81439"/>
                    <a:pt x="39815" y="79820"/>
                    <a:pt x="34671" y="77915"/>
                  </a:cubicBezTo>
                  <a:cubicBezTo>
                    <a:pt x="29527" y="76010"/>
                    <a:pt x="24956" y="73533"/>
                    <a:pt x="20860" y="70485"/>
                  </a:cubicBezTo>
                  <a:cubicBezTo>
                    <a:pt x="16764" y="67437"/>
                    <a:pt x="13430" y="63627"/>
                    <a:pt x="10763" y="59150"/>
                  </a:cubicBezTo>
                  <a:cubicBezTo>
                    <a:pt x="8096" y="54674"/>
                    <a:pt x="6858" y="49054"/>
                    <a:pt x="6858" y="42482"/>
                  </a:cubicBezTo>
                  <a:lnTo>
                    <a:pt x="6858" y="42005"/>
                  </a:lnTo>
                  <a:cubicBezTo>
                    <a:pt x="6858" y="35624"/>
                    <a:pt x="8096" y="29718"/>
                    <a:pt x="10668" y="24575"/>
                  </a:cubicBezTo>
                  <a:cubicBezTo>
                    <a:pt x="13144" y="19336"/>
                    <a:pt x="16669" y="14954"/>
                    <a:pt x="21146" y="11240"/>
                  </a:cubicBezTo>
                  <a:cubicBezTo>
                    <a:pt x="25622" y="7620"/>
                    <a:pt x="30766" y="4763"/>
                    <a:pt x="36862" y="2858"/>
                  </a:cubicBezTo>
                  <a:cubicBezTo>
                    <a:pt x="42863" y="953"/>
                    <a:pt x="49244" y="0"/>
                    <a:pt x="56102" y="0"/>
                  </a:cubicBezTo>
                  <a:cubicBezTo>
                    <a:pt x="64770" y="0"/>
                    <a:pt x="73628" y="1429"/>
                    <a:pt x="82487" y="4191"/>
                  </a:cubicBezTo>
                  <a:cubicBezTo>
                    <a:pt x="91345" y="6953"/>
                    <a:pt x="99441" y="10858"/>
                    <a:pt x="106775" y="15812"/>
                  </a:cubicBezTo>
                  <a:lnTo>
                    <a:pt x="94202" y="38386"/>
                  </a:lnTo>
                  <a:cubicBezTo>
                    <a:pt x="87535" y="34385"/>
                    <a:pt x="80867" y="31242"/>
                    <a:pt x="74104" y="28861"/>
                  </a:cubicBezTo>
                  <a:cubicBezTo>
                    <a:pt x="67342" y="26480"/>
                    <a:pt x="61055" y="25337"/>
                    <a:pt x="55245" y="25337"/>
                  </a:cubicBezTo>
                  <a:cubicBezTo>
                    <a:pt x="49149" y="25337"/>
                    <a:pt x="44387" y="26670"/>
                    <a:pt x="40958" y="29242"/>
                  </a:cubicBezTo>
                  <a:cubicBezTo>
                    <a:pt x="37529" y="31814"/>
                    <a:pt x="35909" y="35147"/>
                    <a:pt x="35909" y="39148"/>
                  </a:cubicBezTo>
                  <a:lnTo>
                    <a:pt x="35909" y="39719"/>
                  </a:lnTo>
                  <a:cubicBezTo>
                    <a:pt x="35909" y="42101"/>
                    <a:pt x="36767" y="44291"/>
                    <a:pt x="38481" y="46101"/>
                  </a:cubicBezTo>
                  <a:cubicBezTo>
                    <a:pt x="40196" y="47911"/>
                    <a:pt x="42481" y="49625"/>
                    <a:pt x="45434" y="51054"/>
                  </a:cubicBezTo>
                  <a:cubicBezTo>
                    <a:pt x="48387" y="52483"/>
                    <a:pt x="51625" y="53912"/>
                    <a:pt x="55340" y="55245"/>
                  </a:cubicBezTo>
                  <a:cubicBezTo>
                    <a:pt x="59055" y="56579"/>
                    <a:pt x="62960" y="57817"/>
                    <a:pt x="66961" y="59055"/>
                  </a:cubicBezTo>
                  <a:cubicBezTo>
                    <a:pt x="72009" y="60579"/>
                    <a:pt x="77057" y="62484"/>
                    <a:pt x="82106" y="64484"/>
                  </a:cubicBezTo>
                  <a:cubicBezTo>
                    <a:pt x="87154" y="66580"/>
                    <a:pt x="91726" y="69152"/>
                    <a:pt x="95821" y="72200"/>
                  </a:cubicBezTo>
                  <a:cubicBezTo>
                    <a:pt x="99917" y="75248"/>
                    <a:pt x="103251" y="78962"/>
                    <a:pt x="105918" y="83249"/>
                  </a:cubicBezTo>
                  <a:cubicBezTo>
                    <a:pt x="108585" y="87535"/>
                    <a:pt x="109823" y="92869"/>
                    <a:pt x="109823" y="99155"/>
                  </a:cubicBezTo>
                  <a:lnTo>
                    <a:pt x="109823" y="99632"/>
                  </a:lnTo>
                  <a:cubicBezTo>
                    <a:pt x="109823" y="106966"/>
                    <a:pt x="108490" y="113252"/>
                    <a:pt x="105918" y="118682"/>
                  </a:cubicBezTo>
                  <a:cubicBezTo>
                    <a:pt x="103346" y="124111"/>
                    <a:pt x="99727" y="128588"/>
                    <a:pt x="95060" y="132112"/>
                  </a:cubicBezTo>
                  <a:cubicBezTo>
                    <a:pt x="90392" y="135636"/>
                    <a:pt x="84963" y="138398"/>
                    <a:pt x="78772" y="140208"/>
                  </a:cubicBezTo>
                  <a:cubicBezTo>
                    <a:pt x="72485" y="142018"/>
                    <a:pt x="65818" y="142970"/>
                    <a:pt x="58674" y="142970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D1ED81C-02E8-7556-D650-8D7AA7ADC56D}"/>
                </a:ext>
              </a:extLst>
            </p:cNvPr>
            <p:cNvSpPr/>
            <p:nvPr/>
          </p:nvSpPr>
          <p:spPr>
            <a:xfrm>
              <a:off x="1887251" y="4227893"/>
              <a:ext cx="109823" cy="142970"/>
            </a:xfrm>
            <a:custGeom>
              <a:avLst/>
              <a:gdLst>
                <a:gd name="connsiteX0" fmla="*/ 58579 w 109823"/>
                <a:gd name="connsiteY0" fmla="*/ 142780 h 142970"/>
                <a:gd name="connsiteX1" fmla="*/ 28384 w 109823"/>
                <a:gd name="connsiteY1" fmla="*/ 137541 h 142970"/>
                <a:gd name="connsiteX2" fmla="*/ 0 w 109823"/>
                <a:gd name="connsiteY2" fmla="*/ 121920 h 142970"/>
                <a:gd name="connsiteX3" fmla="*/ 14097 w 109823"/>
                <a:gd name="connsiteY3" fmla="*/ 100489 h 142970"/>
                <a:gd name="connsiteX4" fmla="*/ 36957 w 109823"/>
                <a:gd name="connsiteY4" fmla="*/ 113157 h 142970"/>
                <a:gd name="connsiteX5" fmla="*/ 59341 w 109823"/>
                <a:gd name="connsiteY5" fmla="*/ 117443 h 142970"/>
                <a:gd name="connsiteX6" fmla="*/ 75152 w 109823"/>
                <a:gd name="connsiteY6" fmla="*/ 113443 h 142970"/>
                <a:gd name="connsiteX7" fmla="*/ 80772 w 109823"/>
                <a:gd name="connsiteY7" fmla="*/ 102584 h 142970"/>
                <a:gd name="connsiteX8" fmla="*/ 80772 w 109823"/>
                <a:gd name="connsiteY8" fmla="*/ 102108 h 142970"/>
                <a:gd name="connsiteX9" fmla="*/ 78296 w 109823"/>
                <a:gd name="connsiteY9" fmla="*/ 95345 h 142970"/>
                <a:gd name="connsiteX10" fmla="*/ 71533 w 109823"/>
                <a:gd name="connsiteY10" fmla="*/ 90392 h 142970"/>
                <a:gd name="connsiteX11" fmla="*/ 61627 w 109823"/>
                <a:gd name="connsiteY11" fmla="*/ 86487 h 142970"/>
                <a:gd name="connsiteX12" fmla="*/ 50006 w 109823"/>
                <a:gd name="connsiteY12" fmla="*/ 82868 h 142970"/>
                <a:gd name="connsiteX13" fmla="*/ 34671 w 109823"/>
                <a:gd name="connsiteY13" fmla="*/ 77915 h 142970"/>
                <a:gd name="connsiteX14" fmla="*/ 20860 w 109823"/>
                <a:gd name="connsiteY14" fmla="*/ 70485 h 142970"/>
                <a:gd name="connsiteX15" fmla="*/ 10763 w 109823"/>
                <a:gd name="connsiteY15" fmla="*/ 59150 h 142970"/>
                <a:gd name="connsiteX16" fmla="*/ 6858 w 109823"/>
                <a:gd name="connsiteY16" fmla="*/ 42482 h 142970"/>
                <a:gd name="connsiteX17" fmla="*/ 6858 w 109823"/>
                <a:gd name="connsiteY17" fmla="*/ 42005 h 142970"/>
                <a:gd name="connsiteX18" fmla="*/ 10668 w 109823"/>
                <a:gd name="connsiteY18" fmla="*/ 24575 h 142970"/>
                <a:gd name="connsiteX19" fmla="*/ 21146 w 109823"/>
                <a:gd name="connsiteY19" fmla="*/ 11240 h 142970"/>
                <a:gd name="connsiteX20" fmla="*/ 36862 w 109823"/>
                <a:gd name="connsiteY20" fmla="*/ 2858 h 142970"/>
                <a:gd name="connsiteX21" fmla="*/ 56102 w 109823"/>
                <a:gd name="connsiteY21" fmla="*/ 0 h 142970"/>
                <a:gd name="connsiteX22" fmla="*/ 82486 w 109823"/>
                <a:gd name="connsiteY22" fmla="*/ 4191 h 142970"/>
                <a:gd name="connsiteX23" fmla="*/ 106775 w 109823"/>
                <a:gd name="connsiteY23" fmla="*/ 15812 h 142970"/>
                <a:gd name="connsiteX24" fmla="*/ 94202 w 109823"/>
                <a:gd name="connsiteY24" fmla="*/ 38386 h 142970"/>
                <a:gd name="connsiteX25" fmla="*/ 74104 w 109823"/>
                <a:gd name="connsiteY25" fmla="*/ 28861 h 142970"/>
                <a:gd name="connsiteX26" fmla="*/ 55245 w 109823"/>
                <a:gd name="connsiteY26" fmla="*/ 25337 h 142970"/>
                <a:gd name="connsiteX27" fmla="*/ 40957 w 109823"/>
                <a:gd name="connsiteY27" fmla="*/ 29242 h 142970"/>
                <a:gd name="connsiteX28" fmla="*/ 35909 w 109823"/>
                <a:gd name="connsiteY28" fmla="*/ 39148 h 142970"/>
                <a:gd name="connsiteX29" fmla="*/ 35909 w 109823"/>
                <a:gd name="connsiteY29" fmla="*/ 39719 h 142970"/>
                <a:gd name="connsiteX30" fmla="*/ 38481 w 109823"/>
                <a:gd name="connsiteY30" fmla="*/ 46101 h 142970"/>
                <a:gd name="connsiteX31" fmla="*/ 45434 w 109823"/>
                <a:gd name="connsiteY31" fmla="*/ 51054 h 142970"/>
                <a:gd name="connsiteX32" fmla="*/ 55340 w 109823"/>
                <a:gd name="connsiteY32" fmla="*/ 55245 h 142970"/>
                <a:gd name="connsiteX33" fmla="*/ 66961 w 109823"/>
                <a:gd name="connsiteY33" fmla="*/ 59055 h 142970"/>
                <a:gd name="connsiteX34" fmla="*/ 82105 w 109823"/>
                <a:gd name="connsiteY34" fmla="*/ 64484 h 142970"/>
                <a:gd name="connsiteX35" fmla="*/ 95821 w 109823"/>
                <a:gd name="connsiteY35" fmla="*/ 72200 h 142970"/>
                <a:gd name="connsiteX36" fmla="*/ 105918 w 109823"/>
                <a:gd name="connsiteY36" fmla="*/ 83249 h 142970"/>
                <a:gd name="connsiteX37" fmla="*/ 109823 w 109823"/>
                <a:gd name="connsiteY37" fmla="*/ 99155 h 142970"/>
                <a:gd name="connsiteX38" fmla="*/ 109823 w 109823"/>
                <a:gd name="connsiteY38" fmla="*/ 99632 h 142970"/>
                <a:gd name="connsiteX39" fmla="*/ 105918 w 109823"/>
                <a:gd name="connsiteY39" fmla="*/ 118682 h 142970"/>
                <a:gd name="connsiteX40" fmla="*/ 95059 w 109823"/>
                <a:gd name="connsiteY40" fmla="*/ 132112 h 142970"/>
                <a:gd name="connsiteX41" fmla="*/ 78772 w 109823"/>
                <a:gd name="connsiteY41" fmla="*/ 140208 h 142970"/>
                <a:gd name="connsiteX42" fmla="*/ 58674 w 109823"/>
                <a:gd name="connsiteY42" fmla="*/ 142970 h 14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9823" h="142970">
                  <a:moveTo>
                    <a:pt x="58579" y="142780"/>
                  </a:moveTo>
                  <a:cubicBezTo>
                    <a:pt x="48673" y="142780"/>
                    <a:pt x="38576" y="140970"/>
                    <a:pt x="28384" y="137541"/>
                  </a:cubicBezTo>
                  <a:cubicBezTo>
                    <a:pt x="18193" y="134017"/>
                    <a:pt x="8763" y="128873"/>
                    <a:pt x="0" y="121920"/>
                  </a:cubicBezTo>
                  <a:lnTo>
                    <a:pt x="14097" y="100489"/>
                  </a:lnTo>
                  <a:cubicBezTo>
                    <a:pt x="21622" y="106108"/>
                    <a:pt x="29242" y="110300"/>
                    <a:pt x="36957" y="113157"/>
                  </a:cubicBezTo>
                  <a:cubicBezTo>
                    <a:pt x="44672" y="116015"/>
                    <a:pt x="52197" y="117443"/>
                    <a:pt x="59341" y="117443"/>
                  </a:cubicBezTo>
                  <a:cubicBezTo>
                    <a:pt x="66484" y="117443"/>
                    <a:pt x="71438" y="116110"/>
                    <a:pt x="75152" y="113443"/>
                  </a:cubicBezTo>
                  <a:cubicBezTo>
                    <a:pt x="78867" y="110776"/>
                    <a:pt x="80772" y="107156"/>
                    <a:pt x="80772" y="102584"/>
                  </a:cubicBezTo>
                  <a:lnTo>
                    <a:pt x="80772" y="102108"/>
                  </a:lnTo>
                  <a:cubicBezTo>
                    <a:pt x="80772" y="99536"/>
                    <a:pt x="79915" y="97250"/>
                    <a:pt x="78296" y="95345"/>
                  </a:cubicBezTo>
                  <a:cubicBezTo>
                    <a:pt x="76676" y="93440"/>
                    <a:pt x="74390" y="91821"/>
                    <a:pt x="71533" y="90392"/>
                  </a:cubicBezTo>
                  <a:cubicBezTo>
                    <a:pt x="68675" y="88964"/>
                    <a:pt x="65342" y="87725"/>
                    <a:pt x="61627" y="86487"/>
                  </a:cubicBezTo>
                  <a:cubicBezTo>
                    <a:pt x="57912" y="85249"/>
                    <a:pt x="54007" y="84011"/>
                    <a:pt x="50006" y="82868"/>
                  </a:cubicBezTo>
                  <a:cubicBezTo>
                    <a:pt x="44958" y="81439"/>
                    <a:pt x="39815" y="79820"/>
                    <a:pt x="34671" y="77915"/>
                  </a:cubicBezTo>
                  <a:cubicBezTo>
                    <a:pt x="29527" y="76010"/>
                    <a:pt x="24955" y="73533"/>
                    <a:pt x="20860" y="70485"/>
                  </a:cubicBezTo>
                  <a:cubicBezTo>
                    <a:pt x="16764" y="67437"/>
                    <a:pt x="13430" y="63627"/>
                    <a:pt x="10763" y="59150"/>
                  </a:cubicBezTo>
                  <a:cubicBezTo>
                    <a:pt x="8096" y="54674"/>
                    <a:pt x="6858" y="49054"/>
                    <a:pt x="6858" y="42482"/>
                  </a:cubicBezTo>
                  <a:lnTo>
                    <a:pt x="6858" y="42005"/>
                  </a:lnTo>
                  <a:cubicBezTo>
                    <a:pt x="6858" y="35624"/>
                    <a:pt x="8096" y="29718"/>
                    <a:pt x="10668" y="24575"/>
                  </a:cubicBezTo>
                  <a:cubicBezTo>
                    <a:pt x="13144" y="19336"/>
                    <a:pt x="16669" y="14954"/>
                    <a:pt x="21146" y="11240"/>
                  </a:cubicBezTo>
                  <a:cubicBezTo>
                    <a:pt x="25622" y="7620"/>
                    <a:pt x="30766" y="4763"/>
                    <a:pt x="36862" y="2858"/>
                  </a:cubicBezTo>
                  <a:cubicBezTo>
                    <a:pt x="42863" y="953"/>
                    <a:pt x="49244" y="0"/>
                    <a:pt x="56102" y="0"/>
                  </a:cubicBezTo>
                  <a:cubicBezTo>
                    <a:pt x="64770" y="0"/>
                    <a:pt x="73628" y="1429"/>
                    <a:pt x="82486" y="4191"/>
                  </a:cubicBezTo>
                  <a:cubicBezTo>
                    <a:pt x="91345" y="6953"/>
                    <a:pt x="99441" y="10858"/>
                    <a:pt x="106775" y="15812"/>
                  </a:cubicBezTo>
                  <a:lnTo>
                    <a:pt x="94202" y="38386"/>
                  </a:lnTo>
                  <a:cubicBezTo>
                    <a:pt x="87535" y="34385"/>
                    <a:pt x="80867" y="31242"/>
                    <a:pt x="74104" y="28861"/>
                  </a:cubicBezTo>
                  <a:cubicBezTo>
                    <a:pt x="67342" y="26480"/>
                    <a:pt x="61055" y="25337"/>
                    <a:pt x="55245" y="25337"/>
                  </a:cubicBezTo>
                  <a:cubicBezTo>
                    <a:pt x="49149" y="25337"/>
                    <a:pt x="44386" y="26670"/>
                    <a:pt x="40957" y="29242"/>
                  </a:cubicBezTo>
                  <a:cubicBezTo>
                    <a:pt x="37529" y="31814"/>
                    <a:pt x="35909" y="35147"/>
                    <a:pt x="35909" y="39148"/>
                  </a:cubicBezTo>
                  <a:lnTo>
                    <a:pt x="35909" y="39719"/>
                  </a:lnTo>
                  <a:cubicBezTo>
                    <a:pt x="35909" y="42101"/>
                    <a:pt x="36767" y="44291"/>
                    <a:pt x="38481" y="46101"/>
                  </a:cubicBezTo>
                  <a:cubicBezTo>
                    <a:pt x="40196" y="47911"/>
                    <a:pt x="42481" y="49625"/>
                    <a:pt x="45434" y="51054"/>
                  </a:cubicBezTo>
                  <a:cubicBezTo>
                    <a:pt x="48387" y="52483"/>
                    <a:pt x="51625" y="53912"/>
                    <a:pt x="55340" y="55245"/>
                  </a:cubicBezTo>
                  <a:cubicBezTo>
                    <a:pt x="59055" y="56579"/>
                    <a:pt x="62960" y="57817"/>
                    <a:pt x="66961" y="59055"/>
                  </a:cubicBezTo>
                  <a:cubicBezTo>
                    <a:pt x="72009" y="60579"/>
                    <a:pt x="77057" y="62484"/>
                    <a:pt x="82105" y="64484"/>
                  </a:cubicBezTo>
                  <a:cubicBezTo>
                    <a:pt x="87154" y="66580"/>
                    <a:pt x="91726" y="69152"/>
                    <a:pt x="95821" y="72200"/>
                  </a:cubicBezTo>
                  <a:cubicBezTo>
                    <a:pt x="99917" y="75248"/>
                    <a:pt x="103251" y="78962"/>
                    <a:pt x="105918" y="83249"/>
                  </a:cubicBezTo>
                  <a:cubicBezTo>
                    <a:pt x="108585" y="87535"/>
                    <a:pt x="109823" y="92869"/>
                    <a:pt x="109823" y="99155"/>
                  </a:cubicBezTo>
                  <a:lnTo>
                    <a:pt x="109823" y="99632"/>
                  </a:lnTo>
                  <a:cubicBezTo>
                    <a:pt x="109823" y="106966"/>
                    <a:pt x="108490" y="113252"/>
                    <a:pt x="105918" y="118682"/>
                  </a:cubicBezTo>
                  <a:cubicBezTo>
                    <a:pt x="103346" y="124111"/>
                    <a:pt x="99727" y="128588"/>
                    <a:pt x="95059" y="132112"/>
                  </a:cubicBezTo>
                  <a:cubicBezTo>
                    <a:pt x="90392" y="135636"/>
                    <a:pt x="84963" y="138398"/>
                    <a:pt x="78772" y="140208"/>
                  </a:cubicBezTo>
                  <a:cubicBezTo>
                    <a:pt x="72485" y="142018"/>
                    <a:pt x="65818" y="142970"/>
                    <a:pt x="58674" y="142970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5B52692-A211-ED96-105B-945707C1E166}"/>
                </a:ext>
              </a:extLst>
            </p:cNvPr>
            <p:cNvSpPr/>
            <p:nvPr/>
          </p:nvSpPr>
          <p:spPr>
            <a:xfrm>
              <a:off x="2019839" y="4228179"/>
              <a:ext cx="125158" cy="142779"/>
            </a:xfrm>
            <a:custGeom>
              <a:avLst/>
              <a:gdLst>
                <a:gd name="connsiteX0" fmla="*/ 93726 w 125158"/>
                <a:gd name="connsiteY0" fmla="*/ 139922 h 142779"/>
                <a:gd name="connsiteX1" fmla="*/ 93726 w 125158"/>
                <a:gd name="connsiteY1" fmla="*/ 122968 h 142779"/>
                <a:gd name="connsiteX2" fmla="*/ 75724 w 125158"/>
                <a:gd name="connsiteY2" fmla="*/ 137065 h 142779"/>
                <a:gd name="connsiteX3" fmla="*/ 49054 w 125158"/>
                <a:gd name="connsiteY3" fmla="*/ 142780 h 142779"/>
                <a:gd name="connsiteX4" fmla="*/ 30290 w 125158"/>
                <a:gd name="connsiteY4" fmla="*/ 140017 h 142779"/>
                <a:gd name="connsiteX5" fmla="*/ 14764 w 125158"/>
                <a:gd name="connsiteY5" fmla="*/ 131921 h 142779"/>
                <a:gd name="connsiteX6" fmla="*/ 4096 w 125158"/>
                <a:gd name="connsiteY6" fmla="*/ 118586 h 142779"/>
                <a:gd name="connsiteX7" fmla="*/ 0 w 125158"/>
                <a:gd name="connsiteY7" fmla="*/ 100203 h 142779"/>
                <a:gd name="connsiteX8" fmla="*/ 0 w 125158"/>
                <a:gd name="connsiteY8" fmla="*/ 99727 h 142779"/>
                <a:gd name="connsiteX9" fmla="*/ 4191 w 125158"/>
                <a:gd name="connsiteY9" fmla="*/ 79724 h 142779"/>
                <a:gd name="connsiteX10" fmla="*/ 15812 w 125158"/>
                <a:gd name="connsiteY10" fmla="*/ 65627 h 142779"/>
                <a:gd name="connsiteX11" fmla="*/ 33623 w 125158"/>
                <a:gd name="connsiteY11" fmla="*/ 57245 h 142779"/>
                <a:gd name="connsiteX12" fmla="*/ 56007 w 125158"/>
                <a:gd name="connsiteY12" fmla="*/ 54483 h 142779"/>
                <a:gd name="connsiteX13" fmla="*/ 77343 w 125158"/>
                <a:gd name="connsiteY13" fmla="*/ 56102 h 142779"/>
                <a:gd name="connsiteX14" fmla="*/ 94202 w 125158"/>
                <a:gd name="connsiteY14" fmla="*/ 60293 h 142779"/>
                <a:gd name="connsiteX15" fmla="*/ 94202 w 125158"/>
                <a:gd name="connsiteY15" fmla="*/ 57721 h 142779"/>
                <a:gd name="connsiteX16" fmla="*/ 85439 w 125158"/>
                <a:gd name="connsiteY16" fmla="*/ 35814 h 142779"/>
                <a:gd name="connsiteX17" fmla="*/ 60198 w 125158"/>
                <a:gd name="connsiteY17" fmla="*/ 28194 h 142779"/>
                <a:gd name="connsiteX18" fmla="*/ 39338 w 125158"/>
                <a:gd name="connsiteY18" fmla="*/ 30575 h 142779"/>
                <a:gd name="connsiteX19" fmla="*/ 20765 w 125158"/>
                <a:gd name="connsiteY19" fmla="*/ 36862 h 142779"/>
                <a:gd name="connsiteX20" fmla="*/ 12097 w 125158"/>
                <a:gd name="connsiteY20" fmla="*/ 11525 h 142779"/>
                <a:gd name="connsiteX21" fmla="*/ 35623 w 125158"/>
                <a:gd name="connsiteY21" fmla="*/ 3143 h 142779"/>
                <a:gd name="connsiteX22" fmla="*/ 64579 w 125158"/>
                <a:gd name="connsiteY22" fmla="*/ 0 h 142779"/>
                <a:gd name="connsiteX23" fmla="*/ 110300 w 125158"/>
                <a:gd name="connsiteY23" fmla="*/ 15335 h 142779"/>
                <a:gd name="connsiteX24" fmla="*/ 125158 w 125158"/>
                <a:gd name="connsiteY24" fmla="*/ 58293 h 142779"/>
                <a:gd name="connsiteX25" fmla="*/ 125158 w 125158"/>
                <a:gd name="connsiteY25" fmla="*/ 140113 h 142779"/>
                <a:gd name="connsiteX26" fmla="*/ 93821 w 125158"/>
                <a:gd name="connsiteY26" fmla="*/ 140113 h 142779"/>
                <a:gd name="connsiteX27" fmla="*/ 94488 w 125158"/>
                <a:gd name="connsiteY27" fmla="*/ 82201 h 142779"/>
                <a:gd name="connsiteX28" fmla="*/ 80200 w 125158"/>
                <a:gd name="connsiteY28" fmla="*/ 78295 h 142779"/>
                <a:gd name="connsiteX29" fmla="*/ 62865 w 125158"/>
                <a:gd name="connsiteY29" fmla="*/ 76676 h 142779"/>
                <a:gd name="connsiteX30" fmla="*/ 39624 w 125158"/>
                <a:gd name="connsiteY30" fmla="*/ 82391 h 142779"/>
                <a:gd name="connsiteX31" fmla="*/ 31242 w 125158"/>
                <a:gd name="connsiteY31" fmla="*/ 98107 h 142779"/>
                <a:gd name="connsiteX32" fmla="*/ 31242 w 125158"/>
                <a:gd name="connsiteY32" fmla="*/ 98679 h 142779"/>
                <a:gd name="connsiteX33" fmla="*/ 38957 w 125158"/>
                <a:gd name="connsiteY33" fmla="*/ 113824 h 142779"/>
                <a:gd name="connsiteX34" fmla="*/ 57912 w 125158"/>
                <a:gd name="connsiteY34" fmla="*/ 119063 h 142779"/>
                <a:gd name="connsiteX35" fmla="*/ 72390 w 125158"/>
                <a:gd name="connsiteY35" fmla="*/ 116967 h 142779"/>
                <a:gd name="connsiteX36" fmla="*/ 84011 w 125158"/>
                <a:gd name="connsiteY36" fmla="*/ 111061 h 142779"/>
                <a:gd name="connsiteX37" fmla="*/ 91726 w 125158"/>
                <a:gd name="connsiteY37" fmla="*/ 101917 h 142779"/>
                <a:gd name="connsiteX38" fmla="*/ 94488 w 125158"/>
                <a:gd name="connsiteY38" fmla="*/ 90011 h 142779"/>
                <a:gd name="connsiteX39" fmla="*/ 94488 w 125158"/>
                <a:gd name="connsiteY39" fmla="*/ 82201 h 142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25158" h="142779">
                  <a:moveTo>
                    <a:pt x="93726" y="139922"/>
                  </a:moveTo>
                  <a:lnTo>
                    <a:pt x="93726" y="122968"/>
                  </a:lnTo>
                  <a:cubicBezTo>
                    <a:pt x="89059" y="128588"/>
                    <a:pt x="83058" y="133255"/>
                    <a:pt x="75724" y="137065"/>
                  </a:cubicBezTo>
                  <a:cubicBezTo>
                    <a:pt x="68390" y="140875"/>
                    <a:pt x="59531" y="142780"/>
                    <a:pt x="49054" y="142780"/>
                  </a:cubicBezTo>
                  <a:cubicBezTo>
                    <a:pt x="42481" y="142780"/>
                    <a:pt x="36195" y="141827"/>
                    <a:pt x="30290" y="140017"/>
                  </a:cubicBezTo>
                  <a:cubicBezTo>
                    <a:pt x="24384" y="138208"/>
                    <a:pt x="19145" y="135445"/>
                    <a:pt x="14764" y="131921"/>
                  </a:cubicBezTo>
                  <a:cubicBezTo>
                    <a:pt x="10287" y="128397"/>
                    <a:pt x="6763" y="123920"/>
                    <a:pt x="4096" y="118586"/>
                  </a:cubicBezTo>
                  <a:cubicBezTo>
                    <a:pt x="1429" y="113252"/>
                    <a:pt x="0" y="107156"/>
                    <a:pt x="0" y="100203"/>
                  </a:cubicBezTo>
                  <a:lnTo>
                    <a:pt x="0" y="99727"/>
                  </a:lnTo>
                  <a:cubicBezTo>
                    <a:pt x="0" y="92107"/>
                    <a:pt x="1429" y="85439"/>
                    <a:pt x="4191" y="79724"/>
                  </a:cubicBezTo>
                  <a:cubicBezTo>
                    <a:pt x="6953" y="74104"/>
                    <a:pt x="10858" y="69342"/>
                    <a:pt x="15812" y="65627"/>
                  </a:cubicBezTo>
                  <a:cubicBezTo>
                    <a:pt x="20765" y="61913"/>
                    <a:pt x="26670" y="59055"/>
                    <a:pt x="33623" y="57245"/>
                  </a:cubicBezTo>
                  <a:cubicBezTo>
                    <a:pt x="40481" y="55435"/>
                    <a:pt x="47911" y="54483"/>
                    <a:pt x="56007" y="54483"/>
                  </a:cubicBezTo>
                  <a:cubicBezTo>
                    <a:pt x="64103" y="54483"/>
                    <a:pt x="71438" y="55054"/>
                    <a:pt x="77343" y="56102"/>
                  </a:cubicBezTo>
                  <a:cubicBezTo>
                    <a:pt x="83248" y="57150"/>
                    <a:pt x="88773" y="58579"/>
                    <a:pt x="94202" y="60293"/>
                  </a:cubicBezTo>
                  <a:lnTo>
                    <a:pt x="94202" y="57721"/>
                  </a:lnTo>
                  <a:cubicBezTo>
                    <a:pt x="94202" y="48196"/>
                    <a:pt x="91250" y="40862"/>
                    <a:pt x="85439" y="35814"/>
                  </a:cubicBezTo>
                  <a:cubicBezTo>
                    <a:pt x="79629" y="30766"/>
                    <a:pt x="71152" y="28194"/>
                    <a:pt x="60198" y="28194"/>
                  </a:cubicBezTo>
                  <a:cubicBezTo>
                    <a:pt x="52388" y="28194"/>
                    <a:pt x="45434" y="28956"/>
                    <a:pt x="39338" y="30575"/>
                  </a:cubicBezTo>
                  <a:cubicBezTo>
                    <a:pt x="33242" y="32194"/>
                    <a:pt x="27051" y="34195"/>
                    <a:pt x="20765" y="36862"/>
                  </a:cubicBezTo>
                  <a:lnTo>
                    <a:pt x="12097" y="11525"/>
                  </a:lnTo>
                  <a:cubicBezTo>
                    <a:pt x="19717" y="8001"/>
                    <a:pt x="27623" y="5239"/>
                    <a:pt x="35623" y="3143"/>
                  </a:cubicBezTo>
                  <a:cubicBezTo>
                    <a:pt x="43625" y="1048"/>
                    <a:pt x="53340" y="0"/>
                    <a:pt x="64579" y="0"/>
                  </a:cubicBezTo>
                  <a:cubicBezTo>
                    <a:pt x="85154" y="0"/>
                    <a:pt x="100394" y="5143"/>
                    <a:pt x="110300" y="15335"/>
                  </a:cubicBezTo>
                  <a:cubicBezTo>
                    <a:pt x="120206" y="25527"/>
                    <a:pt x="125158" y="39814"/>
                    <a:pt x="125158" y="58293"/>
                  </a:cubicBezTo>
                  <a:lnTo>
                    <a:pt x="125158" y="140113"/>
                  </a:lnTo>
                  <a:lnTo>
                    <a:pt x="93821" y="140113"/>
                  </a:lnTo>
                  <a:close/>
                  <a:moveTo>
                    <a:pt x="94488" y="82201"/>
                  </a:moveTo>
                  <a:cubicBezTo>
                    <a:pt x="90488" y="80581"/>
                    <a:pt x="85725" y="79343"/>
                    <a:pt x="80200" y="78295"/>
                  </a:cubicBezTo>
                  <a:cubicBezTo>
                    <a:pt x="74676" y="77248"/>
                    <a:pt x="68961" y="76676"/>
                    <a:pt x="62865" y="76676"/>
                  </a:cubicBezTo>
                  <a:cubicBezTo>
                    <a:pt x="52959" y="76676"/>
                    <a:pt x="45148" y="78581"/>
                    <a:pt x="39624" y="82391"/>
                  </a:cubicBezTo>
                  <a:cubicBezTo>
                    <a:pt x="34100" y="86201"/>
                    <a:pt x="31242" y="91440"/>
                    <a:pt x="31242" y="98107"/>
                  </a:cubicBezTo>
                  <a:lnTo>
                    <a:pt x="31242" y="98679"/>
                  </a:lnTo>
                  <a:cubicBezTo>
                    <a:pt x="31242" y="105346"/>
                    <a:pt x="33814" y="110395"/>
                    <a:pt x="38957" y="113824"/>
                  </a:cubicBezTo>
                  <a:cubicBezTo>
                    <a:pt x="44101" y="117348"/>
                    <a:pt x="50387" y="119063"/>
                    <a:pt x="57912" y="119063"/>
                  </a:cubicBezTo>
                  <a:cubicBezTo>
                    <a:pt x="63151" y="119063"/>
                    <a:pt x="68008" y="118396"/>
                    <a:pt x="72390" y="116967"/>
                  </a:cubicBezTo>
                  <a:cubicBezTo>
                    <a:pt x="76867" y="115538"/>
                    <a:pt x="80677" y="113633"/>
                    <a:pt x="84011" y="111061"/>
                  </a:cubicBezTo>
                  <a:cubicBezTo>
                    <a:pt x="87344" y="108585"/>
                    <a:pt x="89916" y="105537"/>
                    <a:pt x="91726" y="101917"/>
                  </a:cubicBezTo>
                  <a:cubicBezTo>
                    <a:pt x="93536" y="98298"/>
                    <a:pt x="94488" y="94393"/>
                    <a:pt x="94488" y="90011"/>
                  </a:cubicBezTo>
                  <a:lnTo>
                    <a:pt x="94488" y="82201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4A6B5D7-88A8-5F15-91CF-A1557C325822}"/>
                </a:ext>
              </a:extLst>
            </p:cNvPr>
            <p:cNvSpPr/>
            <p:nvPr/>
          </p:nvSpPr>
          <p:spPr>
            <a:xfrm>
              <a:off x="2171287" y="4227893"/>
              <a:ext cx="109823" cy="142970"/>
            </a:xfrm>
            <a:custGeom>
              <a:avLst/>
              <a:gdLst>
                <a:gd name="connsiteX0" fmla="*/ 58579 w 109823"/>
                <a:gd name="connsiteY0" fmla="*/ 142780 h 142970"/>
                <a:gd name="connsiteX1" fmla="*/ 28385 w 109823"/>
                <a:gd name="connsiteY1" fmla="*/ 137541 h 142970"/>
                <a:gd name="connsiteX2" fmla="*/ 0 w 109823"/>
                <a:gd name="connsiteY2" fmla="*/ 121920 h 142970"/>
                <a:gd name="connsiteX3" fmla="*/ 14097 w 109823"/>
                <a:gd name="connsiteY3" fmla="*/ 100489 h 142970"/>
                <a:gd name="connsiteX4" fmla="*/ 36957 w 109823"/>
                <a:gd name="connsiteY4" fmla="*/ 113157 h 142970"/>
                <a:gd name="connsiteX5" fmla="*/ 59246 w 109823"/>
                <a:gd name="connsiteY5" fmla="*/ 117443 h 142970"/>
                <a:gd name="connsiteX6" fmla="*/ 75057 w 109823"/>
                <a:gd name="connsiteY6" fmla="*/ 113443 h 142970"/>
                <a:gd name="connsiteX7" fmla="*/ 80677 w 109823"/>
                <a:gd name="connsiteY7" fmla="*/ 102584 h 142970"/>
                <a:gd name="connsiteX8" fmla="*/ 80677 w 109823"/>
                <a:gd name="connsiteY8" fmla="*/ 102108 h 142970"/>
                <a:gd name="connsiteX9" fmla="*/ 78200 w 109823"/>
                <a:gd name="connsiteY9" fmla="*/ 95345 h 142970"/>
                <a:gd name="connsiteX10" fmla="*/ 71438 w 109823"/>
                <a:gd name="connsiteY10" fmla="*/ 90392 h 142970"/>
                <a:gd name="connsiteX11" fmla="*/ 61532 w 109823"/>
                <a:gd name="connsiteY11" fmla="*/ 86487 h 142970"/>
                <a:gd name="connsiteX12" fmla="*/ 49911 w 109823"/>
                <a:gd name="connsiteY12" fmla="*/ 82868 h 142970"/>
                <a:gd name="connsiteX13" fmla="*/ 34671 w 109823"/>
                <a:gd name="connsiteY13" fmla="*/ 77915 h 142970"/>
                <a:gd name="connsiteX14" fmla="*/ 20860 w 109823"/>
                <a:gd name="connsiteY14" fmla="*/ 70485 h 142970"/>
                <a:gd name="connsiteX15" fmla="*/ 10763 w 109823"/>
                <a:gd name="connsiteY15" fmla="*/ 59150 h 142970"/>
                <a:gd name="connsiteX16" fmla="*/ 6858 w 109823"/>
                <a:gd name="connsiteY16" fmla="*/ 42482 h 142970"/>
                <a:gd name="connsiteX17" fmla="*/ 6858 w 109823"/>
                <a:gd name="connsiteY17" fmla="*/ 42005 h 142970"/>
                <a:gd name="connsiteX18" fmla="*/ 10668 w 109823"/>
                <a:gd name="connsiteY18" fmla="*/ 24575 h 142970"/>
                <a:gd name="connsiteX19" fmla="*/ 21146 w 109823"/>
                <a:gd name="connsiteY19" fmla="*/ 11240 h 142970"/>
                <a:gd name="connsiteX20" fmla="*/ 36862 w 109823"/>
                <a:gd name="connsiteY20" fmla="*/ 2858 h 142970"/>
                <a:gd name="connsiteX21" fmla="*/ 56102 w 109823"/>
                <a:gd name="connsiteY21" fmla="*/ 0 h 142970"/>
                <a:gd name="connsiteX22" fmla="*/ 82487 w 109823"/>
                <a:gd name="connsiteY22" fmla="*/ 4191 h 142970"/>
                <a:gd name="connsiteX23" fmla="*/ 106775 w 109823"/>
                <a:gd name="connsiteY23" fmla="*/ 15812 h 142970"/>
                <a:gd name="connsiteX24" fmla="*/ 94202 w 109823"/>
                <a:gd name="connsiteY24" fmla="*/ 38386 h 142970"/>
                <a:gd name="connsiteX25" fmla="*/ 74105 w 109823"/>
                <a:gd name="connsiteY25" fmla="*/ 28861 h 142970"/>
                <a:gd name="connsiteX26" fmla="*/ 55340 w 109823"/>
                <a:gd name="connsiteY26" fmla="*/ 25337 h 142970"/>
                <a:gd name="connsiteX27" fmla="*/ 41053 w 109823"/>
                <a:gd name="connsiteY27" fmla="*/ 29242 h 142970"/>
                <a:gd name="connsiteX28" fmla="*/ 35909 w 109823"/>
                <a:gd name="connsiteY28" fmla="*/ 39148 h 142970"/>
                <a:gd name="connsiteX29" fmla="*/ 35909 w 109823"/>
                <a:gd name="connsiteY29" fmla="*/ 39719 h 142970"/>
                <a:gd name="connsiteX30" fmla="*/ 38481 w 109823"/>
                <a:gd name="connsiteY30" fmla="*/ 46101 h 142970"/>
                <a:gd name="connsiteX31" fmla="*/ 45434 w 109823"/>
                <a:gd name="connsiteY31" fmla="*/ 51054 h 142970"/>
                <a:gd name="connsiteX32" fmla="*/ 55340 w 109823"/>
                <a:gd name="connsiteY32" fmla="*/ 55245 h 142970"/>
                <a:gd name="connsiteX33" fmla="*/ 66961 w 109823"/>
                <a:gd name="connsiteY33" fmla="*/ 59055 h 142970"/>
                <a:gd name="connsiteX34" fmla="*/ 82106 w 109823"/>
                <a:gd name="connsiteY34" fmla="*/ 64484 h 142970"/>
                <a:gd name="connsiteX35" fmla="*/ 95822 w 109823"/>
                <a:gd name="connsiteY35" fmla="*/ 72200 h 142970"/>
                <a:gd name="connsiteX36" fmla="*/ 105918 w 109823"/>
                <a:gd name="connsiteY36" fmla="*/ 83249 h 142970"/>
                <a:gd name="connsiteX37" fmla="*/ 109823 w 109823"/>
                <a:gd name="connsiteY37" fmla="*/ 99155 h 142970"/>
                <a:gd name="connsiteX38" fmla="*/ 109823 w 109823"/>
                <a:gd name="connsiteY38" fmla="*/ 99632 h 142970"/>
                <a:gd name="connsiteX39" fmla="*/ 105918 w 109823"/>
                <a:gd name="connsiteY39" fmla="*/ 118682 h 142970"/>
                <a:gd name="connsiteX40" fmla="*/ 95060 w 109823"/>
                <a:gd name="connsiteY40" fmla="*/ 132112 h 142970"/>
                <a:gd name="connsiteX41" fmla="*/ 78772 w 109823"/>
                <a:gd name="connsiteY41" fmla="*/ 140208 h 142970"/>
                <a:gd name="connsiteX42" fmla="*/ 58674 w 109823"/>
                <a:gd name="connsiteY42" fmla="*/ 142970 h 14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9823" h="142970">
                  <a:moveTo>
                    <a:pt x="58579" y="142780"/>
                  </a:moveTo>
                  <a:cubicBezTo>
                    <a:pt x="48673" y="142780"/>
                    <a:pt x="38576" y="140970"/>
                    <a:pt x="28385" y="137541"/>
                  </a:cubicBezTo>
                  <a:cubicBezTo>
                    <a:pt x="18193" y="134017"/>
                    <a:pt x="8763" y="128873"/>
                    <a:pt x="0" y="121920"/>
                  </a:cubicBezTo>
                  <a:lnTo>
                    <a:pt x="14097" y="100489"/>
                  </a:lnTo>
                  <a:cubicBezTo>
                    <a:pt x="21622" y="106108"/>
                    <a:pt x="29242" y="110300"/>
                    <a:pt x="36957" y="113157"/>
                  </a:cubicBezTo>
                  <a:cubicBezTo>
                    <a:pt x="44672" y="116015"/>
                    <a:pt x="52102" y="117443"/>
                    <a:pt x="59246" y="117443"/>
                  </a:cubicBezTo>
                  <a:cubicBezTo>
                    <a:pt x="66389" y="117443"/>
                    <a:pt x="71342" y="116110"/>
                    <a:pt x="75057" y="113443"/>
                  </a:cubicBezTo>
                  <a:cubicBezTo>
                    <a:pt x="78772" y="110776"/>
                    <a:pt x="80677" y="107156"/>
                    <a:pt x="80677" y="102584"/>
                  </a:cubicBezTo>
                  <a:lnTo>
                    <a:pt x="80677" y="102108"/>
                  </a:lnTo>
                  <a:cubicBezTo>
                    <a:pt x="80677" y="99536"/>
                    <a:pt x="79820" y="97250"/>
                    <a:pt x="78200" y="95345"/>
                  </a:cubicBezTo>
                  <a:cubicBezTo>
                    <a:pt x="76581" y="93440"/>
                    <a:pt x="74295" y="91821"/>
                    <a:pt x="71438" y="90392"/>
                  </a:cubicBezTo>
                  <a:cubicBezTo>
                    <a:pt x="68580" y="88964"/>
                    <a:pt x="65246" y="87725"/>
                    <a:pt x="61532" y="86487"/>
                  </a:cubicBezTo>
                  <a:cubicBezTo>
                    <a:pt x="57817" y="85249"/>
                    <a:pt x="53912" y="84011"/>
                    <a:pt x="49911" y="82868"/>
                  </a:cubicBezTo>
                  <a:cubicBezTo>
                    <a:pt x="44863" y="81439"/>
                    <a:pt x="39719" y="79820"/>
                    <a:pt x="34671" y="77915"/>
                  </a:cubicBezTo>
                  <a:cubicBezTo>
                    <a:pt x="29528" y="76010"/>
                    <a:pt x="24956" y="73533"/>
                    <a:pt x="20860" y="70485"/>
                  </a:cubicBezTo>
                  <a:cubicBezTo>
                    <a:pt x="16764" y="67437"/>
                    <a:pt x="13430" y="63627"/>
                    <a:pt x="10763" y="59150"/>
                  </a:cubicBezTo>
                  <a:cubicBezTo>
                    <a:pt x="8192" y="54674"/>
                    <a:pt x="6858" y="49054"/>
                    <a:pt x="6858" y="42482"/>
                  </a:cubicBezTo>
                  <a:lnTo>
                    <a:pt x="6858" y="42005"/>
                  </a:lnTo>
                  <a:cubicBezTo>
                    <a:pt x="6858" y="35624"/>
                    <a:pt x="8096" y="29718"/>
                    <a:pt x="10668" y="24575"/>
                  </a:cubicBezTo>
                  <a:cubicBezTo>
                    <a:pt x="13240" y="19336"/>
                    <a:pt x="16669" y="14954"/>
                    <a:pt x="21146" y="11240"/>
                  </a:cubicBezTo>
                  <a:cubicBezTo>
                    <a:pt x="25622" y="7620"/>
                    <a:pt x="30766" y="4763"/>
                    <a:pt x="36862" y="2858"/>
                  </a:cubicBezTo>
                  <a:cubicBezTo>
                    <a:pt x="42863" y="953"/>
                    <a:pt x="49244" y="0"/>
                    <a:pt x="56102" y="0"/>
                  </a:cubicBezTo>
                  <a:cubicBezTo>
                    <a:pt x="64770" y="0"/>
                    <a:pt x="73628" y="1429"/>
                    <a:pt x="82487" y="4191"/>
                  </a:cubicBezTo>
                  <a:cubicBezTo>
                    <a:pt x="91345" y="6953"/>
                    <a:pt x="99441" y="10858"/>
                    <a:pt x="106775" y="15812"/>
                  </a:cubicBezTo>
                  <a:lnTo>
                    <a:pt x="94202" y="38386"/>
                  </a:lnTo>
                  <a:cubicBezTo>
                    <a:pt x="87535" y="34385"/>
                    <a:pt x="80867" y="31242"/>
                    <a:pt x="74105" y="28861"/>
                  </a:cubicBezTo>
                  <a:cubicBezTo>
                    <a:pt x="67342" y="26480"/>
                    <a:pt x="61055" y="25337"/>
                    <a:pt x="55340" y="25337"/>
                  </a:cubicBezTo>
                  <a:cubicBezTo>
                    <a:pt x="49244" y="25337"/>
                    <a:pt x="44482" y="26670"/>
                    <a:pt x="41053" y="29242"/>
                  </a:cubicBezTo>
                  <a:cubicBezTo>
                    <a:pt x="37624" y="31814"/>
                    <a:pt x="35909" y="35147"/>
                    <a:pt x="35909" y="39148"/>
                  </a:cubicBezTo>
                  <a:lnTo>
                    <a:pt x="35909" y="39719"/>
                  </a:lnTo>
                  <a:cubicBezTo>
                    <a:pt x="35909" y="42101"/>
                    <a:pt x="36767" y="44291"/>
                    <a:pt x="38481" y="46101"/>
                  </a:cubicBezTo>
                  <a:cubicBezTo>
                    <a:pt x="40196" y="47911"/>
                    <a:pt x="42482" y="49625"/>
                    <a:pt x="45434" y="51054"/>
                  </a:cubicBezTo>
                  <a:cubicBezTo>
                    <a:pt x="48387" y="52483"/>
                    <a:pt x="51626" y="53912"/>
                    <a:pt x="55340" y="55245"/>
                  </a:cubicBezTo>
                  <a:cubicBezTo>
                    <a:pt x="59055" y="56579"/>
                    <a:pt x="62960" y="57817"/>
                    <a:pt x="66961" y="59055"/>
                  </a:cubicBezTo>
                  <a:cubicBezTo>
                    <a:pt x="72009" y="60579"/>
                    <a:pt x="77057" y="62484"/>
                    <a:pt x="82106" y="64484"/>
                  </a:cubicBezTo>
                  <a:cubicBezTo>
                    <a:pt x="87154" y="66580"/>
                    <a:pt x="91726" y="69152"/>
                    <a:pt x="95822" y="72200"/>
                  </a:cubicBezTo>
                  <a:cubicBezTo>
                    <a:pt x="99917" y="75248"/>
                    <a:pt x="103251" y="78962"/>
                    <a:pt x="105918" y="83249"/>
                  </a:cubicBezTo>
                  <a:cubicBezTo>
                    <a:pt x="108490" y="87630"/>
                    <a:pt x="109823" y="92869"/>
                    <a:pt x="109823" y="99155"/>
                  </a:cubicBezTo>
                  <a:lnTo>
                    <a:pt x="109823" y="99632"/>
                  </a:lnTo>
                  <a:cubicBezTo>
                    <a:pt x="109823" y="106966"/>
                    <a:pt x="108490" y="113252"/>
                    <a:pt x="105918" y="118682"/>
                  </a:cubicBezTo>
                  <a:cubicBezTo>
                    <a:pt x="103346" y="124111"/>
                    <a:pt x="99727" y="128588"/>
                    <a:pt x="95060" y="132112"/>
                  </a:cubicBezTo>
                  <a:cubicBezTo>
                    <a:pt x="90392" y="135636"/>
                    <a:pt x="84963" y="138398"/>
                    <a:pt x="78772" y="140208"/>
                  </a:cubicBezTo>
                  <a:cubicBezTo>
                    <a:pt x="72581" y="142018"/>
                    <a:pt x="65818" y="142970"/>
                    <a:pt x="58674" y="142970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BFD6A6E-3B61-4D04-729B-C75A69345F5E}"/>
                </a:ext>
              </a:extLst>
            </p:cNvPr>
            <p:cNvSpPr/>
            <p:nvPr/>
          </p:nvSpPr>
          <p:spPr>
            <a:xfrm>
              <a:off x="2391600" y="4227226"/>
              <a:ext cx="210121" cy="140970"/>
            </a:xfrm>
            <a:custGeom>
              <a:avLst/>
              <a:gdLst>
                <a:gd name="connsiteX0" fmla="*/ 0 w 210121"/>
                <a:gd name="connsiteY0" fmla="*/ 2858 h 140970"/>
                <a:gd name="connsiteX1" fmla="*/ 31909 w 210121"/>
                <a:gd name="connsiteY1" fmla="*/ 2858 h 140970"/>
                <a:gd name="connsiteX2" fmla="*/ 31909 w 210121"/>
                <a:gd name="connsiteY2" fmla="*/ 24003 h 140970"/>
                <a:gd name="connsiteX3" fmla="*/ 39243 w 210121"/>
                <a:gd name="connsiteY3" fmla="*/ 15050 h 140970"/>
                <a:gd name="connsiteX4" fmla="*/ 48196 w 210121"/>
                <a:gd name="connsiteY4" fmla="*/ 7429 h 140970"/>
                <a:gd name="connsiteX5" fmla="*/ 59626 w 210121"/>
                <a:gd name="connsiteY5" fmla="*/ 2000 h 140970"/>
                <a:gd name="connsiteX6" fmla="*/ 73819 w 210121"/>
                <a:gd name="connsiteY6" fmla="*/ 0 h 140970"/>
                <a:gd name="connsiteX7" fmla="*/ 98965 w 210121"/>
                <a:gd name="connsiteY7" fmla="*/ 6763 h 140970"/>
                <a:gd name="connsiteX8" fmla="*/ 114681 w 210121"/>
                <a:gd name="connsiteY8" fmla="*/ 24575 h 140970"/>
                <a:gd name="connsiteX9" fmla="*/ 134493 w 210121"/>
                <a:gd name="connsiteY9" fmla="*/ 6763 h 140970"/>
                <a:gd name="connsiteX10" fmla="*/ 161639 w 210121"/>
                <a:gd name="connsiteY10" fmla="*/ 0 h 140970"/>
                <a:gd name="connsiteX11" fmla="*/ 197263 w 210121"/>
                <a:gd name="connsiteY11" fmla="*/ 13716 h 140970"/>
                <a:gd name="connsiteX12" fmla="*/ 210121 w 210121"/>
                <a:gd name="connsiteY12" fmla="*/ 52768 h 140970"/>
                <a:gd name="connsiteX13" fmla="*/ 210121 w 210121"/>
                <a:gd name="connsiteY13" fmla="*/ 140875 h 140970"/>
                <a:gd name="connsiteX14" fmla="*/ 178213 w 210121"/>
                <a:gd name="connsiteY14" fmla="*/ 140875 h 140970"/>
                <a:gd name="connsiteX15" fmla="*/ 178213 w 210121"/>
                <a:gd name="connsiteY15" fmla="*/ 62675 h 140970"/>
                <a:gd name="connsiteX16" fmla="*/ 170974 w 210121"/>
                <a:gd name="connsiteY16" fmla="*/ 37624 h 140970"/>
                <a:gd name="connsiteX17" fmla="*/ 150400 w 210121"/>
                <a:gd name="connsiteY17" fmla="*/ 29051 h 140970"/>
                <a:gd name="connsiteX18" fmla="*/ 129254 w 210121"/>
                <a:gd name="connsiteY18" fmla="*/ 37814 h 140970"/>
                <a:gd name="connsiteX19" fmla="*/ 121063 w 210121"/>
                <a:gd name="connsiteY19" fmla="*/ 63246 h 140970"/>
                <a:gd name="connsiteX20" fmla="*/ 121063 w 210121"/>
                <a:gd name="connsiteY20" fmla="*/ 140970 h 140970"/>
                <a:gd name="connsiteX21" fmla="*/ 89154 w 210121"/>
                <a:gd name="connsiteY21" fmla="*/ 140970 h 140970"/>
                <a:gd name="connsiteX22" fmla="*/ 89154 w 210121"/>
                <a:gd name="connsiteY22" fmla="*/ 62484 h 140970"/>
                <a:gd name="connsiteX23" fmla="*/ 81915 w 210121"/>
                <a:gd name="connsiteY23" fmla="*/ 37719 h 140970"/>
                <a:gd name="connsiteX24" fmla="*/ 61341 w 210121"/>
                <a:gd name="connsiteY24" fmla="*/ 29146 h 140970"/>
                <a:gd name="connsiteX25" fmla="*/ 40005 w 210121"/>
                <a:gd name="connsiteY25" fmla="*/ 38291 h 140970"/>
                <a:gd name="connsiteX26" fmla="*/ 31909 w 210121"/>
                <a:gd name="connsiteY26" fmla="*/ 63532 h 140970"/>
                <a:gd name="connsiteX27" fmla="*/ 31909 w 210121"/>
                <a:gd name="connsiteY27" fmla="*/ 140970 h 140970"/>
                <a:gd name="connsiteX28" fmla="*/ 0 w 210121"/>
                <a:gd name="connsiteY28" fmla="*/ 140970 h 140970"/>
                <a:gd name="connsiteX29" fmla="*/ 0 w 210121"/>
                <a:gd name="connsiteY29" fmla="*/ 3048 h 14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0121" h="140970">
                  <a:moveTo>
                    <a:pt x="0" y="2858"/>
                  </a:moveTo>
                  <a:lnTo>
                    <a:pt x="31909" y="2858"/>
                  </a:lnTo>
                  <a:lnTo>
                    <a:pt x="31909" y="24003"/>
                  </a:lnTo>
                  <a:cubicBezTo>
                    <a:pt x="34195" y="20860"/>
                    <a:pt x="36576" y="17812"/>
                    <a:pt x="39243" y="15050"/>
                  </a:cubicBezTo>
                  <a:cubicBezTo>
                    <a:pt x="41815" y="12287"/>
                    <a:pt x="44863" y="9716"/>
                    <a:pt x="48196" y="7429"/>
                  </a:cubicBezTo>
                  <a:cubicBezTo>
                    <a:pt x="51625" y="5143"/>
                    <a:pt x="55436" y="3334"/>
                    <a:pt x="59626" y="2000"/>
                  </a:cubicBezTo>
                  <a:cubicBezTo>
                    <a:pt x="63913" y="667"/>
                    <a:pt x="68580" y="0"/>
                    <a:pt x="73819" y="0"/>
                  </a:cubicBezTo>
                  <a:cubicBezTo>
                    <a:pt x="83725" y="0"/>
                    <a:pt x="92107" y="2286"/>
                    <a:pt x="98965" y="6763"/>
                  </a:cubicBezTo>
                  <a:cubicBezTo>
                    <a:pt x="105823" y="11239"/>
                    <a:pt x="111062" y="17145"/>
                    <a:pt x="114681" y="24575"/>
                  </a:cubicBezTo>
                  <a:cubicBezTo>
                    <a:pt x="120301" y="17240"/>
                    <a:pt x="126873" y="11239"/>
                    <a:pt x="134493" y="6763"/>
                  </a:cubicBezTo>
                  <a:cubicBezTo>
                    <a:pt x="142113" y="2286"/>
                    <a:pt x="151162" y="0"/>
                    <a:pt x="161639" y="0"/>
                  </a:cubicBezTo>
                  <a:cubicBezTo>
                    <a:pt x="176879" y="0"/>
                    <a:pt x="188690" y="4572"/>
                    <a:pt x="197263" y="13716"/>
                  </a:cubicBezTo>
                  <a:cubicBezTo>
                    <a:pt x="205835" y="22860"/>
                    <a:pt x="210121" y="35909"/>
                    <a:pt x="210121" y="52768"/>
                  </a:cubicBezTo>
                  <a:lnTo>
                    <a:pt x="210121" y="140875"/>
                  </a:lnTo>
                  <a:lnTo>
                    <a:pt x="178213" y="140875"/>
                  </a:lnTo>
                  <a:lnTo>
                    <a:pt x="178213" y="62675"/>
                  </a:lnTo>
                  <a:cubicBezTo>
                    <a:pt x="178213" y="51721"/>
                    <a:pt x="175832" y="43339"/>
                    <a:pt x="170974" y="37624"/>
                  </a:cubicBezTo>
                  <a:cubicBezTo>
                    <a:pt x="166116" y="31909"/>
                    <a:pt x="159258" y="29051"/>
                    <a:pt x="150400" y="29051"/>
                  </a:cubicBezTo>
                  <a:cubicBezTo>
                    <a:pt x="141542" y="29051"/>
                    <a:pt x="134684" y="32004"/>
                    <a:pt x="129254" y="37814"/>
                  </a:cubicBezTo>
                  <a:cubicBezTo>
                    <a:pt x="123825" y="43625"/>
                    <a:pt x="121063" y="52102"/>
                    <a:pt x="121063" y="63246"/>
                  </a:cubicBezTo>
                  <a:lnTo>
                    <a:pt x="121063" y="140970"/>
                  </a:lnTo>
                  <a:lnTo>
                    <a:pt x="89154" y="140970"/>
                  </a:lnTo>
                  <a:lnTo>
                    <a:pt x="89154" y="62484"/>
                  </a:lnTo>
                  <a:cubicBezTo>
                    <a:pt x="89154" y="51721"/>
                    <a:pt x="86678" y="43434"/>
                    <a:pt x="81915" y="37719"/>
                  </a:cubicBezTo>
                  <a:cubicBezTo>
                    <a:pt x="77057" y="32004"/>
                    <a:pt x="70199" y="29146"/>
                    <a:pt x="61341" y="29146"/>
                  </a:cubicBezTo>
                  <a:cubicBezTo>
                    <a:pt x="52483" y="29146"/>
                    <a:pt x="45434" y="32195"/>
                    <a:pt x="40005" y="38291"/>
                  </a:cubicBezTo>
                  <a:cubicBezTo>
                    <a:pt x="34671" y="44387"/>
                    <a:pt x="31909" y="52768"/>
                    <a:pt x="31909" y="63532"/>
                  </a:cubicBezTo>
                  <a:lnTo>
                    <a:pt x="31909" y="140970"/>
                  </a:lnTo>
                  <a:lnTo>
                    <a:pt x="0" y="140970"/>
                  </a:lnTo>
                  <a:lnTo>
                    <a:pt x="0" y="3048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EB0EB75-069A-3F12-F838-1C1EBAC11DBB}"/>
                </a:ext>
              </a:extLst>
            </p:cNvPr>
            <p:cNvSpPr/>
            <p:nvPr/>
          </p:nvSpPr>
          <p:spPr>
            <a:xfrm>
              <a:off x="2630487" y="4174648"/>
              <a:ext cx="125158" cy="196310"/>
            </a:xfrm>
            <a:custGeom>
              <a:avLst/>
              <a:gdLst>
                <a:gd name="connsiteX0" fmla="*/ 93726 w 125158"/>
                <a:gd name="connsiteY0" fmla="*/ 193453 h 196310"/>
                <a:gd name="connsiteX1" fmla="*/ 93726 w 125158"/>
                <a:gd name="connsiteY1" fmla="*/ 176498 h 196310"/>
                <a:gd name="connsiteX2" fmla="*/ 75724 w 125158"/>
                <a:gd name="connsiteY2" fmla="*/ 190595 h 196310"/>
                <a:gd name="connsiteX3" fmla="*/ 49054 w 125158"/>
                <a:gd name="connsiteY3" fmla="*/ 196310 h 196310"/>
                <a:gd name="connsiteX4" fmla="*/ 30289 w 125158"/>
                <a:gd name="connsiteY4" fmla="*/ 193548 h 196310"/>
                <a:gd name="connsiteX5" fmla="*/ 14764 w 125158"/>
                <a:gd name="connsiteY5" fmla="*/ 185452 h 196310"/>
                <a:gd name="connsiteX6" fmla="*/ 4096 w 125158"/>
                <a:gd name="connsiteY6" fmla="*/ 172117 h 196310"/>
                <a:gd name="connsiteX7" fmla="*/ 0 w 125158"/>
                <a:gd name="connsiteY7" fmla="*/ 153734 h 196310"/>
                <a:gd name="connsiteX8" fmla="*/ 0 w 125158"/>
                <a:gd name="connsiteY8" fmla="*/ 153257 h 196310"/>
                <a:gd name="connsiteX9" fmla="*/ 4191 w 125158"/>
                <a:gd name="connsiteY9" fmla="*/ 133255 h 196310"/>
                <a:gd name="connsiteX10" fmla="*/ 15812 w 125158"/>
                <a:gd name="connsiteY10" fmla="*/ 119158 h 196310"/>
                <a:gd name="connsiteX11" fmla="*/ 33623 w 125158"/>
                <a:gd name="connsiteY11" fmla="*/ 110776 h 196310"/>
                <a:gd name="connsiteX12" fmla="*/ 56007 w 125158"/>
                <a:gd name="connsiteY12" fmla="*/ 108013 h 196310"/>
                <a:gd name="connsiteX13" fmla="*/ 77343 w 125158"/>
                <a:gd name="connsiteY13" fmla="*/ 109633 h 196310"/>
                <a:gd name="connsiteX14" fmla="*/ 94202 w 125158"/>
                <a:gd name="connsiteY14" fmla="*/ 113824 h 196310"/>
                <a:gd name="connsiteX15" fmla="*/ 94202 w 125158"/>
                <a:gd name="connsiteY15" fmla="*/ 111252 h 196310"/>
                <a:gd name="connsiteX16" fmla="*/ 85439 w 125158"/>
                <a:gd name="connsiteY16" fmla="*/ 89345 h 196310"/>
                <a:gd name="connsiteX17" fmla="*/ 60198 w 125158"/>
                <a:gd name="connsiteY17" fmla="*/ 81725 h 196310"/>
                <a:gd name="connsiteX18" fmla="*/ 39338 w 125158"/>
                <a:gd name="connsiteY18" fmla="*/ 84106 h 196310"/>
                <a:gd name="connsiteX19" fmla="*/ 20764 w 125158"/>
                <a:gd name="connsiteY19" fmla="*/ 90392 h 196310"/>
                <a:gd name="connsiteX20" fmla="*/ 12097 w 125158"/>
                <a:gd name="connsiteY20" fmla="*/ 65056 h 196310"/>
                <a:gd name="connsiteX21" fmla="*/ 35624 w 125158"/>
                <a:gd name="connsiteY21" fmla="*/ 56674 h 196310"/>
                <a:gd name="connsiteX22" fmla="*/ 64579 w 125158"/>
                <a:gd name="connsiteY22" fmla="*/ 53531 h 196310"/>
                <a:gd name="connsiteX23" fmla="*/ 110300 w 125158"/>
                <a:gd name="connsiteY23" fmla="*/ 68866 h 196310"/>
                <a:gd name="connsiteX24" fmla="*/ 125158 w 125158"/>
                <a:gd name="connsiteY24" fmla="*/ 111824 h 196310"/>
                <a:gd name="connsiteX25" fmla="*/ 125158 w 125158"/>
                <a:gd name="connsiteY25" fmla="*/ 193643 h 196310"/>
                <a:gd name="connsiteX26" fmla="*/ 93821 w 125158"/>
                <a:gd name="connsiteY26" fmla="*/ 193643 h 196310"/>
                <a:gd name="connsiteX27" fmla="*/ 16859 w 125158"/>
                <a:gd name="connsiteY27" fmla="*/ 35338 h 196310"/>
                <a:gd name="connsiteX28" fmla="*/ 27718 w 125158"/>
                <a:gd name="connsiteY28" fmla="*/ 11049 h 196310"/>
                <a:gd name="connsiteX29" fmla="*/ 46101 w 125158"/>
                <a:gd name="connsiteY29" fmla="*/ 2667 h 196310"/>
                <a:gd name="connsiteX30" fmla="*/ 56769 w 125158"/>
                <a:gd name="connsiteY30" fmla="*/ 4382 h 196310"/>
                <a:gd name="connsiteX31" fmla="*/ 66866 w 125158"/>
                <a:gd name="connsiteY31" fmla="*/ 8001 h 196310"/>
                <a:gd name="connsiteX32" fmla="*/ 75914 w 125158"/>
                <a:gd name="connsiteY32" fmla="*/ 11525 h 196310"/>
                <a:gd name="connsiteX33" fmla="*/ 83725 w 125158"/>
                <a:gd name="connsiteY33" fmla="*/ 13049 h 196310"/>
                <a:gd name="connsiteX34" fmla="*/ 92392 w 125158"/>
                <a:gd name="connsiteY34" fmla="*/ 9906 h 196310"/>
                <a:gd name="connsiteX35" fmla="*/ 98108 w 125158"/>
                <a:gd name="connsiteY35" fmla="*/ 0 h 196310"/>
                <a:gd name="connsiteX36" fmla="*/ 115633 w 125158"/>
                <a:gd name="connsiteY36" fmla="*/ 5525 h 196310"/>
                <a:gd name="connsiteX37" fmla="*/ 104775 w 125158"/>
                <a:gd name="connsiteY37" fmla="*/ 29528 h 196310"/>
                <a:gd name="connsiteX38" fmla="*/ 86392 w 125158"/>
                <a:gd name="connsiteY38" fmla="*/ 37909 h 196310"/>
                <a:gd name="connsiteX39" fmla="*/ 75724 w 125158"/>
                <a:gd name="connsiteY39" fmla="*/ 36386 h 196310"/>
                <a:gd name="connsiteX40" fmla="*/ 65627 w 125158"/>
                <a:gd name="connsiteY40" fmla="*/ 32861 h 196310"/>
                <a:gd name="connsiteX41" fmla="*/ 56483 w 125158"/>
                <a:gd name="connsiteY41" fmla="*/ 29242 h 196310"/>
                <a:gd name="connsiteX42" fmla="*/ 48768 w 125158"/>
                <a:gd name="connsiteY42" fmla="*/ 27527 h 196310"/>
                <a:gd name="connsiteX43" fmla="*/ 40100 w 125158"/>
                <a:gd name="connsiteY43" fmla="*/ 30671 h 196310"/>
                <a:gd name="connsiteX44" fmla="*/ 34385 w 125158"/>
                <a:gd name="connsiteY44" fmla="*/ 40577 h 196310"/>
                <a:gd name="connsiteX45" fmla="*/ 16859 w 125158"/>
                <a:gd name="connsiteY45" fmla="*/ 35338 h 196310"/>
                <a:gd name="connsiteX46" fmla="*/ 94488 w 125158"/>
                <a:gd name="connsiteY46" fmla="*/ 135636 h 196310"/>
                <a:gd name="connsiteX47" fmla="*/ 80200 w 125158"/>
                <a:gd name="connsiteY47" fmla="*/ 131731 h 196310"/>
                <a:gd name="connsiteX48" fmla="*/ 62865 w 125158"/>
                <a:gd name="connsiteY48" fmla="*/ 130112 h 196310"/>
                <a:gd name="connsiteX49" fmla="*/ 39624 w 125158"/>
                <a:gd name="connsiteY49" fmla="*/ 135827 h 196310"/>
                <a:gd name="connsiteX50" fmla="*/ 31242 w 125158"/>
                <a:gd name="connsiteY50" fmla="*/ 151543 h 196310"/>
                <a:gd name="connsiteX51" fmla="*/ 31242 w 125158"/>
                <a:gd name="connsiteY51" fmla="*/ 152114 h 196310"/>
                <a:gd name="connsiteX52" fmla="*/ 38957 w 125158"/>
                <a:gd name="connsiteY52" fmla="*/ 167259 h 196310"/>
                <a:gd name="connsiteX53" fmla="*/ 57912 w 125158"/>
                <a:gd name="connsiteY53" fmla="*/ 172498 h 196310"/>
                <a:gd name="connsiteX54" fmla="*/ 72390 w 125158"/>
                <a:gd name="connsiteY54" fmla="*/ 170402 h 196310"/>
                <a:gd name="connsiteX55" fmla="*/ 84011 w 125158"/>
                <a:gd name="connsiteY55" fmla="*/ 164497 h 196310"/>
                <a:gd name="connsiteX56" fmla="*/ 91726 w 125158"/>
                <a:gd name="connsiteY56" fmla="*/ 155353 h 196310"/>
                <a:gd name="connsiteX57" fmla="*/ 94488 w 125158"/>
                <a:gd name="connsiteY57" fmla="*/ 143446 h 196310"/>
                <a:gd name="connsiteX58" fmla="*/ 94488 w 125158"/>
                <a:gd name="connsiteY58" fmla="*/ 135636 h 196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25158" h="196310">
                  <a:moveTo>
                    <a:pt x="93726" y="193453"/>
                  </a:moveTo>
                  <a:lnTo>
                    <a:pt x="93726" y="176498"/>
                  </a:lnTo>
                  <a:cubicBezTo>
                    <a:pt x="89059" y="182118"/>
                    <a:pt x="83058" y="186785"/>
                    <a:pt x="75724" y="190595"/>
                  </a:cubicBezTo>
                  <a:cubicBezTo>
                    <a:pt x="68389" y="194405"/>
                    <a:pt x="59531" y="196310"/>
                    <a:pt x="49054" y="196310"/>
                  </a:cubicBezTo>
                  <a:cubicBezTo>
                    <a:pt x="42482" y="196310"/>
                    <a:pt x="36195" y="195358"/>
                    <a:pt x="30289" y="193548"/>
                  </a:cubicBezTo>
                  <a:cubicBezTo>
                    <a:pt x="24384" y="191738"/>
                    <a:pt x="19145" y="188976"/>
                    <a:pt x="14764" y="185452"/>
                  </a:cubicBezTo>
                  <a:cubicBezTo>
                    <a:pt x="10287" y="181928"/>
                    <a:pt x="6763" y="177451"/>
                    <a:pt x="4096" y="172117"/>
                  </a:cubicBezTo>
                  <a:cubicBezTo>
                    <a:pt x="1429" y="166783"/>
                    <a:pt x="0" y="160687"/>
                    <a:pt x="0" y="153734"/>
                  </a:cubicBezTo>
                  <a:lnTo>
                    <a:pt x="0" y="153257"/>
                  </a:lnTo>
                  <a:cubicBezTo>
                    <a:pt x="0" y="145637"/>
                    <a:pt x="1429" y="138970"/>
                    <a:pt x="4191" y="133255"/>
                  </a:cubicBezTo>
                  <a:cubicBezTo>
                    <a:pt x="6953" y="127635"/>
                    <a:pt x="10858" y="122873"/>
                    <a:pt x="15812" y="119158"/>
                  </a:cubicBezTo>
                  <a:cubicBezTo>
                    <a:pt x="20764" y="115443"/>
                    <a:pt x="26670" y="112586"/>
                    <a:pt x="33623" y="110776"/>
                  </a:cubicBezTo>
                  <a:cubicBezTo>
                    <a:pt x="40481" y="108966"/>
                    <a:pt x="47911" y="108013"/>
                    <a:pt x="56007" y="108013"/>
                  </a:cubicBezTo>
                  <a:cubicBezTo>
                    <a:pt x="64103" y="108013"/>
                    <a:pt x="71438" y="108585"/>
                    <a:pt x="77343" y="109633"/>
                  </a:cubicBezTo>
                  <a:cubicBezTo>
                    <a:pt x="83249" y="110681"/>
                    <a:pt x="88773" y="112109"/>
                    <a:pt x="94202" y="113824"/>
                  </a:cubicBezTo>
                  <a:lnTo>
                    <a:pt x="94202" y="111252"/>
                  </a:lnTo>
                  <a:cubicBezTo>
                    <a:pt x="94202" y="101727"/>
                    <a:pt x="91250" y="94393"/>
                    <a:pt x="85439" y="89345"/>
                  </a:cubicBezTo>
                  <a:cubicBezTo>
                    <a:pt x="79629" y="84296"/>
                    <a:pt x="71152" y="81725"/>
                    <a:pt x="60198" y="81725"/>
                  </a:cubicBezTo>
                  <a:cubicBezTo>
                    <a:pt x="52388" y="81725"/>
                    <a:pt x="45434" y="82487"/>
                    <a:pt x="39338" y="84106"/>
                  </a:cubicBezTo>
                  <a:cubicBezTo>
                    <a:pt x="33242" y="85725"/>
                    <a:pt x="27051" y="87725"/>
                    <a:pt x="20764" y="90392"/>
                  </a:cubicBezTo>
                  <a:lnTo>
                    <a:pt x="12097" y="65056"/>
                  </a:lnTo>
                  <a:cubicBezTo>
                    <a:pt x="19717" y="61532"/>
                    <a:pt x="27622" y="58769"/>
                    <a:pt x="35624" y="56674"/>
                  </a:cubicBezTo>
                  <a:cubicBezTo>
                    <a:pt x="43625" y="54578"/>
                    <a:pt x="53340" y="53531"/>
                    <a:pt x="64579" y="53531"/>
                  </a:cubicBezTo>
                  <a:cubicBezTo>
                    <a:pt x="85154" y="53531"/>
                    <a:pt x="100393" y="58674"/>
                    <a:pt x="110300" y="68866"/>
                  </a:cubicBezTo>
                  <a:cubicBezTo>
                    <a:pt x="120205" y="79058"/>
                    <a:pt x="125158" y="93345"/>
                    <a:pt x="125158" y="111824"/>
                  </a:cubicBezTo>
                  <a:lnTo>
                    <a:pt x="125158" y="193643"/>
                  </a:lnTo>
                  <a:lnTo>
                    <a:pt x="93821" y="193643"/>
                  </a:lnTo>
                  <a:close/>
                  <a:moveTo>
                    <a:pt x="16859" y="35338"/>
                  </a:moveTo>
                  <a:cubicBezTo>
                    <a:pt x="19812" y="24670"/>
                    <a:pt x="23432" y="16574"/>
                    <a:pt x="27718" y="11049"/>
                  </a:cubicBezTo>
                  <a:cubicBezTo>
                    <a:pt x="32004" y="5525"/>
                    <a:pt x="38100" y="2667"/>
                    <a:pt x="46101" y="2667"/>
                  </a:cubicBezTo>
                  <a:cubicBezTo>
                    <a:pt x="49721" y="2667"/>
                    <a:pt x="53340" y="3238"/>
                    <a:pt x="56769" y="4382"/>
                  </a:cubicBezTo>
                  <a:cubicBezTo>
                    <a:pt x="60293" y="5525"/>
                    <a:pt x="63627" y="6763"/>
                    <a:pt x="66866" y="8001"/>
                  </a:cubicBezTo>
                  <a:cubicBezTo>
                    <a:pt x="70104" y="9334"/>
                    <a:pt x="73057" y="10478"/>
                    <a:pt x="75914" y="11525"/>
                  </a:cubicBezTo>
                  <a:cubicBezTo>
                    <a:pt x="78676" y="12573"/>
                    <a:pt x="81343" y="13049"/>
                    <a:pt x="83725" y="13049"/>
                  </a:cubicBezTo>
                  <a:cubicBezTo>
                    <a:pt x="87535" y="13049"/>
                    <a:pt x="90392" y="12002"/>
                    <a:pt x="92392" y="9906"/>
                  </a:cubicBezTo>
                  <a:cubicBezTo>
                    <a:pt x="94297" y="7811"/>
                    <a:pt x="96203" y="4477"/>
                    <a:pt x="98108" y="0"/>
                  </a:cubicBezTo>
                  <a:lnTo>
                    <a:pt x="115633" y="5525"/>
                  </a:lnTo>
                  <a:cubicBezTo>
                    <a:pt x="112681" y="16002"/>
                    <a:pt x="109061" y="24003"/>
                    <a:pt x="104775" y="29528"/>
                  </a:cubicBezTo>
                  <a:cubicBezTo>
                    <a:pt x="100489" y="35147"/>
                    <a:pt x="94393" y="37909"/>
                    <a:pt x="86392" y="37909"/>
                  </a:cubicBezTo>
                  <a:cubicBezTo>
                    <a:pt x="82772" y="37909"/>
                    <a:pt x="79153" y="37433"/>
                    <a:pt x="75724" y="36386"/>
                  </a:cubicBezTo>
                  <a:cubicBezTo>
                    <a:pt x="72200" y="35338"/>
                    <a:pt x="68866" y="34195"/>
                    <a:pt x="65627" y="32861"/>
                  </a:cubicBezTo>
                  <a:cubicBezTo>
                    <a:pt x="62389" y="31528"/>
                    <a:pt x="59341" y="30385"/>
                    <a:pt x="56483" y="29242"/>
                  </a:cubicBezTo>
                  <a:cubicBezTo>
                    <a:pt x="53626" y="28099"/>
                    <a:pt x="51054" y="27527"/>
                    <a:pt x="48768" y="27527"/>
                  </a:cubicBezTo>
                  <a:cubicBezTo>
                    <a:pt x="44958" y="27527"/>
                    <a:pt x="42100" y="28575"/>
                    <a:pt x="40100" y="30671"/>
                  </a:cubicBezTo>
                  <a:cubicBezTo>
                    <a:pt x="38195" y="32766"/>
                    <a:pt x="36290" y="36100"/>
                    <a:pt x="34385" y="40577"/>
                  </a:cubicBezTo>
                  <a:lnTo>
                    <a:pt x="16859" y="35338"/>
                  </a:lnTo>
                  <a:close/>
                  <a:moveTo>
                    <a:pt x="94488" y="135636"/>
                  </a:moveTo>
                  <a:cubicBezTo>
                    <a:pt x="90488" y="134017"/>
                    <a:pt x="85725" y="132779"/>
                    <a:pt x="80200" y="131731"/>
                  </a:cubicBezTo>
                  <a:cubicBezTo>
                    <a:pt x="74676" y="130683"/>
                    <a:pt x="68961" y="130112"/>
                    <a:pt x="62865" y="130112"/>
                  </a:cubicBezTo>
                  <a:cubicBezTo>
                    <a:pt x="52959" y="130112"/>
                    <a:pt x="45149" y="132017"/>
                    <a:pt x="39624" y="135827"/>
                  </a:cubicBezTo>
                  <a:cubicBezTo>
                    <a:pt x="34100" y="139637"/>
                    <a:pt x="31242" y="144875"/>
                    <a:pt x="31242" y="151543"/>
                  </a:cubicBezTo>
                  <a:lnTo>
                    <a:pt x="31242" y="152114"/>
                  </a:lnTo>
                  <a:cubicBezTo>
                    <a:pt x="31242" y="158782"/>
                    <a:pt x="33814" y="163830"/>
                    <a:pt x="38957" y="167259"/>
                  </a:cubicBezTo>
                  <a:cubicBezTo>
                    <a:pt x="44101" y="170783"/>
                    <a:pt x="50387" y="172498"/>
                    <a:pt x="57912" y="172498"/>
                  </a:cubicBezTo>
                  <a:cubicBezTo>
                    <a:pt x="63151" y="172498"/>
                    <a:pt x="68008" y="171831"/>
                    <a:pt x="72390" y="170402"/>
                  </a:cubicBezTo>
                  <a:cubicBezTo>
                    <a:pt x="76867" y="168974"/>
                    <a:pt x="80677" y="167069"/>
                    <a:pt x="84011" y="164497"/>
                  </a:cubicBezTo>
                  <a:cubicBezTo>
                    <a:pt x="87344" y="162020"/>
                    <a:pt x="89916" y="158972"/>
                    <a:pt x="91726" y="155353"/>
                  </a:cubicBezTo>
                  <a:cubicBezTo>
                    <a:pt x="93536" y="151733"/>
                    <a:pt x="94488" y="147828"/>
                    <a:pt x="94488" y="143446"/>
                  </a:cubicBezTo>
                  <a:lnTo>
                    <a:pt x="94488" y="135636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5F62AB1-EFFD-942E-82BD-36A7859B4034}"/>
                </a:ext>
              </a:extLst>
            </p:cNvPr>
            <p:cNvSpPr/>
            <p:nvPr/>
          </p:nvSpPr>
          <p:spPr>
            <a:xfrm>
              <a:off x="2785554" y="4227321"/>
              <a:ext cx="147161" cy="143922"/>
            </a:xfrm>
            <a:custGeom>
              <a:avLst/>
              <a:gdLst>
                <a:gd name="connsiteX0" fmla="*/ 73152 w 147161"/>
                <a:gd name="connsiteY0" fmla="*/ 143923 h 143922"/>
                <a:gd name="connsiteX1" fmla="*/ 44005 w 147161"/>
                <a:gd name="connsiteY1" fmla="*/ 138303 h 143922"/>
                <a:gd name="connsiteX2" fmla="*/ 20765 w 147161"/>
                <a:gd name="connsiteY2" fmla="*/ 123063 h 143922"/>
                <a:gd name="connsiteX3" fmla="*/ 5525 w 147161"/>
                <a:gd name="connsiteY3" fmla="*/ 100298 h 143922"/>
                <a:gd name="connsiteX4" fmla="*/ 0 w 147161"/>
                <a:gd name="connsiteY4" fmla="*/ 72581 h 143922"/>
                <a:gd name="connsiteX5" fmla="*/ 0 w 147161"/>
                <a:gd name="connsiteY5" fmla="*/ 72104 h 143922"/>
                <a:gd name="connsiteX6" fmla="*/ 5620 w 147161"/>
                <a:gd name="connsiteY6" fmla="*/ 44101 h 143922"/>
                <a:gd name="connsiteX7" fmla="*/ 21050 w 147161"/>
                <a:gd name="connsiteY7" fmla="*/ 21241 h 143922"/>
                <a:gd name="connsiteX8" fmla="*/ 44291 w 147161"/>
                <a:gd name="connsiteY8" fmla="*/ 5715 h 143922"/>
                <a:gd name="connsiteX9" fmla="*/ 73724 w 147161"/>
                <a:gd name="connsiteY9" fmla="*/ 0 h 143922"/>
                <a:gd name="connsiteX10" fmla="*/ 103156 w 147161"/>
                <a:gd name="connsiteY10" fmla="*/ 5620 h 143922"/>
                <a:gd name="connsiteX11" fmla="*/ 126397 w 147161"/>
                <a:gd name="connsiteY11" fmla="*/ 21050 h 143922"/>
                <a:gd name="connsiteX12" fmla="*/ 141637 w 147161"/>
                <a:gd name="connsiteY12" fmla="*/ 43815 h 143922"/>
                <a:gd name="connsiteX13" fmla="*/ 147161 w 147161"/>
                <a:gd name="connsiteY13" fmla="*/ 71628 h 143922"/>
                <a:gd name="connsiteX14" fmla="*/ 147161 w 147161"/>
                <a:gd name="connsiteY14" fmla="*/ 72104 h 143922"/>
                <a:gd name="connsiteX15" fmla="*/ 141542 w 147161"/>
                <a:gd name="connsiteY15" fmla="*/ 99822 h 143922"/>
                <a:gd name="connsiteX16" fmla="*/ 126111 w 147161"/>
                <a:gd name="connsiteY16" fmla="*/ 122682 h 143922"/>
                <a:gd name="connsiteX17" fmla="*/ 102679 w 147161"/>
                <a:gd name="connsiteY17" fmla="*/ 138208 h 143922"/>
                <a:gd name="connsiteX18" fmla="*/ 73152 w 147161"/>
                <a:gd name="connsiteY18" fmla="*/ 143923 h 143922"/>
                <a:gd name="connsiteX19" fmla="*/ 73724 w 147161"/>
                <a:gd name="connsiteY19" fmla="*/ 116491 h 143922"/>
                <a:gd name="connsiteX20" fmla="*/ 90964 w 147161"/>
                <a:gd name="connsiteY20" fmla="*/ 112967 h 143922"/>
                <a:gd name="connsiteX21" fmla="*/ 104108 w 147161"/>
                <a:gd name="connsiteY21" fmla="*/ 103442 h 143922"/>
                <a:gd name="connsiteX22" fmla="*/ 112395 w 147161"/>
                <a:gd name="connsiteY22" fmla="*/ 89440 h 143922"/>
                <a:gd name="connsiteX23" fmla="*/ 115253 w 147161"/>
                <a:gd name="connsiteY23" fmla="*/ 72581 h 143922"/>
                <a:gd name="connsiteX24" fmla="*/ 115253 w 147161"/>
                <a:gd name="connsiteY24" fmla="*/ 72104 h 143922"/>
                <a:gd name="connsiteX25" fmla="*/ 112109 w 147161"/>
                <a:gd name="connsiteY25" fmla="*/ 54864 h 143922"/>
                <a:gd name="connsiteX26" fmla="*/ 103442 w 147161"/>
                <a:gd name="connsiteY26" fmla="*/ 40767 h 143922"/>
                <a:gd name="connsiteX27" fmla="*/ 90202 w 147161"/>
                <a:gd name="connsiteY27" fmla="*/ 31242 h 143922"/>
                <a:gd name="connsiteX28" fmla="*/ 73152 w 147161"/>
                <a:gd name="connsiteY28" fmla="*/ 27718 h 143922"/>
                <a:gd name="connsiteX29" fmla="*/ 56102 w 147161"/>
                <a:gd name="connsiteY29" fmla="*/ 31242 h 143922"/>
                <a:gd name="connsiteX30" fmla="*/ 42958 w 147161"/>
                <a:gd name="connsiteY30" fmla="*/ 40672 h 143922"/>
                <a:gd name="connsiteX31" fmla="*/ 34671 w 147161"/>
                <a:gd name="connsiteY31" fmla="*/ 54674 h 143922"/>
                <a:gd name="connsiteX32" fmla="*/ 31813 w 147161"/>
                <a:gd name="connsiteY32" fmla="*/ 71628 h 143922"/>
                <a:gd name="connsiteX33" fmla="*/ 31813 w 147161"/>
                <a:gd name="connsiteY33" fmla="*/ 72104 h 143922"/>
                <a:gd name="connsiteX34" fmla="*/ 34957 w 147161"/>
                <a:gd name="connsiteY34" fmla="*/ 89249 h 143922"/>
                <a:gd name="connsiteX35" fmla="*/ 43625 w 147161"/>
                <a:gd name="connsiteY35" fmla="*/ 103346 h 143922"/>
                <a:gd name="connsiteX36" fmla="*/ 56864 w 147161"/>
                <a:gd name="connsiteY36" fmla="*/ 112967 h 143922"/>
                <a:gd name="connsiteX37" fmla="*/ 73628 w 147161"/>
                <a:gd name="connsiteY37" fmla="*/ 116491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47161" h="143922">
                  <a:moveTo>
                    <a:pt x="73152" y="143923"/>
                  </a:moveTo>
                  <a:cubicBezTo>
                    <a:pt x="62675" y="143923"/>
                    <a:pt x="52959" y="142018"/>
                    <a:pt x="44005" y="138303"/>
                  </a:cubicBezTo>
                  <a:cubicBezTo>
                    <a:pt x="35052" y="134588"/>
                    <a:pt x="27242" y="129445"/>
                    <a:pt x="20765" y="123063"/>
                  </a:cubicBezTo>
                  <a:cubicBezTo>
                    <a:pt x="14288" y="116681"/>
                    <a:pt x="9144" y="109061"/>
                    <a:pt x="5525" y="100298"/>
                  </a:cubicBezTo>
                  <a:cubicBezTo>
                    <a:pt x="1905" y="91631"/>
                    <a:pt x="0" y="82391"/>
                    <a:pt x="0" y="72581"/>
                  </a:cubicBezTo>
                  <a:lnTo>
                    <a:pt x="0" y="72104"/>
                  </a:lnTo>
                  <a:cubicBezTo>
                    <a:pt x="0" y="62198"/>
                    <a:pt x="1905" y="52864"/>
                    <a:pt x="5620" y="44101"/>
                  </a:cubicBezTo>
                  <a:cubicBezTo>
                    <a:pt x="9334" y="35433"/>
                    <a:pt x="14478" y="27813"/>
                    <a:pt x="21050" y="21241"/>
                  </a:cubicBezTo>
                  <a:cubicBezTo>
                    <a:pt x="27622" y="14669"/>
                    <a:pt x="35338" y="9525"/>
                    <a:pt x="44291" y="5715"/>
                  </a:cubicBezTo>
                  <a:cubicBezTo>
                    <a:pt x="53245" y="1905"/>
                    <a:pt x="63055" y="0"/>
                    <a:pt x="73724" y="0"/>
                  </a:cubicBezTo>
                  <a:cubicBezTo>
                    <a:pt x="84392" y="0"/>
                    <a:pt x="94107" y="1905"/>
                    <a:pt x="103156" y="5620"/>
                  </a:cubicBezTo>
                  <a:cubicBezTo>
                    <a:pt x="112109" y="9335"/>
                    <a:pt x="119920" y="14478"/>
                    <a:pt x="126397" y="21050"/>
                  </a:cubicBezTo>
                  <a:cubicBezTo>
                    <a:pt x="132969" y="27623"/>
                    <a:pt x="138017" y="35147"/>
                    <a:pt x="141637" y="43815"/>
                  </a:cubicBezTo>
                  <a:cubicBezTo>
                    <a:pt x="145256" y="52483"/>
                    <a:pt x="147161" y="61722"/>
                    <a:pt x="147161" y="71628"/>
                  </a:cubicBezTo>
                  <a:lnTo>
                    <a:pt x="147161" y="72104"/>
                  </a:lnTo>
                  <a:cubicBezTo>
                    <a:pt x="147161" y="81820"/>
                    <a:pt x="145256" y="91059"/>
                    <a:pt x="141542" y="99822"/>
                  </a:cubicBezTo>
                  <a:cubicBezTo>
                    <a:pt x="137827" y="108585"/>
                    <a:pt x="132683" y="116110"/>
                    <a:pt x="126111" y="122682"/>
                  </a:cubicBezTo>
                  <a:cubicBezTo>
                    <a:pt x="119539" y="129254"/>
                    <a:pt x="111824" y="134398"/>
                    <a:pt x="102679" y="138208"/>
                  </a:cubicBezTo>
                  <a:cubicBezTo>
                    <a:pt x="93631" y="142018"/>
                    <a:pt x="83725" y="143923"/>
                    <a:pt x="73152" y="143923"/>
                  </a:cubicBezTo>
                  <a:close/>
                  <a:moveTo>
                    <a:pt x="73724" y="116491"/>
                  </a:moveTo>
                  <a:cubicBezTo>
                    <a:pt x="80105" y="116491"/>
                    <a:pt x="85916" y="115348"/>
                    <a:pt x="90964" y="112967"/>
                  </a:cubicBezTo>
                  <a:cubicBezTo>
                    <a:pt x="96107" y="110585"/>
                    <a:pt x="100489" y="107442"/>
                    <a:pt x="104108" y="103442"/>
                  </a:cubicBezTo>
                  <a:cubicBezTo>
                    <a:pt x="107728" y="99441"/>
                    <a:pt x="110490" y="94774"/>
                    <a:pt x="112395" y="89440"/>
                  </a:cubicBezTo>
                  <a:cubicBezTo>
                    <a:pt x="114300" y="84106"/>
                    <a:pt x="115253" y="78486"/>
                    <a:pt x="115253" y="72581"/>
                  </a:cubicBezTo>
                  <a:lnTo>
                    <a:pt x="115253" y="72104"/>
                  </a:lnTo>
                  <a:cubicBezTo>
                    <a:pt x="115253" y="66008"/>
                    <a:pt x="114205" y="60293"/>
                    <a:pt x="112109" y="54864"/>
                  </a:cubicBezTo>
                  <a:cubicBezTo>
                    <a:pt x="110014" y="49435"/>
                    <a:pt x="107156" y="44767"/>
                    <a:pt x="103442" y="40767"/>
                  </a:cubicBezTo>
                  <a:cubicBezTo>
                    <a:pt x="99727" y="36767"/>
                    <a:pt x="95345" y="33623"/>
                    <a:pt x="90202" y="31242"/>
                  </a:cubicBezTo>
                  <a:cubicBezTo>
                    <a:pt x="85058" y="28861"/>
                    <a:pt x="79438" y="27718"/>
                    <a:pt x="73152" y="27718"/>
                  </a:cubicBezTo>
                  <a:cubicBezTo>
                    <a:pt x="66866" y="27718"/>
                    <a:pt x="61246" y="28861"/>
                    <a:pt x="56102" y="31242"/>
                  </a:cubicBezTo>
                  <a:cubicBezTo>
                    <a:pt x="50959" y="33623"/>
                    <a:pt x="46577" y="36767"/>
                    <a:pt x="42958" y="40672"/>
                  </a:cubicBezTo>
                  <a:cubicBezTo>
                    <a:pt x="39338" y="44577"/>
                    <a:pt x="36576" y="49244"/>
                    <a:pt x="34671" y="54674"/>
                  </a:cubicBezTo>
                  <a:cubicBezTo>
                    <a:pt x="32766" y="60103"/>
                    <a:pt x="31813" y="65723"/>
                    <a:pt x="31813" y="71628"/>
                  </a:cubicBezTo>
                  <a:lnTo>
                    <a:pt x="31813" y="72104"/>
                  </a:lnTo>
                  <a:cubicBezTo>
                    <a:pt x="31813" y="78200"/>
                    <a:pt x="32861" y="83915"/>
                    <a:pt x="34957" y="89249"/>
                  </a:cubicBezTo>
                  <a:cubicBezTo>
                    <a:pt x="37052" y="94583"/>
                    <a:pt x="39910" y="99250"/>
                    <a:pt x="43625" y="103346"/>
                  </a:cubicBezTo>
                  <a:cubicBezTo>
                    <a:pt x="47339" y="107442"/>
                    <a:pt x="51721" y="110681"/>
                    <a:pt x="56864" y="112967"/>
                  </a:cubicBezTo>
                  <a:cubicBezTo>
                    <a:pt x="62008" y="115348"/>
                    <a:pt x="67532" y="116491"/>
                    <a:pt x="73628" y="116491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48F31B5-A193-BAB0-97F9-594DBD25BBE8}"/>
                </a:ext>
              </a:extLst>
            </p:cNvPr>
            <p:cNvSpPr/>
            <p:nvPr/>
          </p:nvSpPr>
          <p:spPr>
            <a:xfrm>
              <a:off x="2953575" y="4227893"/>
              <a:ext cx="109823" cy="142970"/>
            </a:xfrm>
            <a:custGeom>
              <a:avLst/>
              <a:gdLst>
                <a:gd name="connsiteX0" fmla="*/ 58579 w 109823"/>
                <a:gd name="connsiteY0" fmla="*/ 142780 h 142970"/>
                <a:gd name="connsiteX1" fmla="*/ 28384 w 109823"/>
                <a:gd name="connsiteY1" fmla="*/ 137541 h 142970"/>
                <a:gd name="connsiteX2" fmla="*/ 0 w 109823"/>
                <a:gd name="connsiteY2" fmla="*/ 121920 h 142970"/>
                <a:gd name="connsiteX3" fmla="*/ 14097 w 109823"/>
                <a:gd name="connsiteY3" fmla="*/ 100489 h 142970"/>
                <a:gd name="connsiteX4" fmla="*/ 36957 w 109823"/>
                <a:gd name="connsiteY4" fmla="*/ 113157 h 142970"/>
                <a:gd name="connsiteX5" fmla="*/ 59341 w 109823"/>
                <a:gd name="connsiteY5" fmla="*/ 117443 h 142970"/>
                <a:gd name="connsiteX6" fmla="*/ 75152 w 109823"/>
                <a:gd name="connsiteY6" fmla="*/ 113443 h 142970"/>
                <a:gd name="connsiteX7" fmla="*/ 80772 w 109823"/>
                <a:gd name="connsiteY7" fmla="*/ 102584 h 142970"/>
                <a:gd name="connsiteX8" fmla="*/ 80772 w 109823"/>
                <a:gd name="connsiteY8" fmla="*/ 102108 h 142970"/>
                <a:gd name="connsiteX9" fmla="*/ 78296 w 109823"/>
                <a:gd name="connsiteY9" fmla="*/ 95345 h 142970"/>
                <a:gd name="connsiteX10" fmla="*/ 71533 w 109823"/>
                <a:gd name="connsiteY10" fmla="*/ 90392 h 142970"/>
                <a:gd name="connsiteX11" fmla="*/ 61627 w 109823"/>
                <a:gd name="connsiteY11" fmla="*/ 86487 h 142970"/>
                <a:gd name="connsiteX12" fmla="*/ 50006 w 109823"/>
                <a:gd name="connsiteY12" fmla="*/ 82868 h 142970"/>
                <a:gd name="connsiteX13" fmla="*/ 34671 w 109823"/>
                <a:gd name="connsiteY13" fmla="*/ 77915 h 142970"/>
                <a:gd name="connsiteX14" fmla="*/ 20860 w 109823"/>
                <a:gd name="connsiteY14" fmla="*/ 70485 h 142970"/>
                <a:gd name="connsiteX15" fmla="*/ 10763 w 109823"/>
                <a:gd name="connsiteY15" fmla="*/ 59150 h 142970"/>
                <a:gd name="connsiteX16" fmla="*/ 6858 w 109823"/>
                <a:gd name="connsiteY16" fmla="*/ 42482 h 142970"/>
                <a:gd name="connsiteX17" fmla="*/ 6858 w 109823"/>
                <a:gd name="connsiteY17" fmla="*/ 42005 h 142970"/>
                <a:gd name="connsiteX18" fmla="*/ 10668 w 109823"/>
                <a:gd name="connsiteY18" fmla="*/ 24575 h 142970"/>
                <a:gd name="connsiteX19" fmla="*/ 21146 w 109823"/>
                <a:gd name="connsiteY19" fmla="*/ 11240 h 142970"/>
                <a:gd name="connsiteX20" fmla="*/ 36862 w 109823"/>
                <a:gd name="connsiteY20" fmla="*/ 2858 h 142970"/>
                <a:gd name="connsiteX21" fmla="*/ 56102 w 109823"/>
                <a:gd name="connsiteY21" fmla="*/ 0 h 142970"/>
                <a:gd name="connsiteX22" fmla="*/ 82487 w 109823"/>
                <a:gd name="connsiteY22" fmla="*/ 4191 h 142970"/>
                <a:gd name="connsiteX23" fmla="*/ 106775 w 109823"/>
                <a:gd name="connsiteY23" fmla="*/ 15812 h 142970"/>
                <a:gd name="connsiteX24" fmla="*/ 94202 w 109823"/>
                <a:gd name="connsiteY24" fmla="*/ 38386 h 142970"/>
                <a:gd name="connsiteX25" fmla="*/ 74104 w 109823"/>
                <a:gd name="connsiteY25" fmla="*/ 28861 h 142970"/>
                <a:gd name="connsiteX26" fmla="*/ 55245 w 109823"/>
                <a:gd name="connsiteY26" fmla="*/ 25337 h 142970"/>
                <a:gd name="connsiteX27" fmla="*/ 40958 w 109823"/>
                <a:gd name="connsiteY27" fmla="*/ 29242 h 142970"/>
                <a:gd name="connsiteX28" fmla="*/ 35909 w 109823"/>
                <a:gd name="connsiteY28" fmla="*/ 39148 h 142970"/>
                <a:gd name="connsiteX29" fmla="*/ 35909 w 109823"/>
                <a:gd name="connsiteY29" fmla="*/ 39719 h 142970"/>
                <a:gd name="connsiteX30" fmla="*/ 38481 w 109823"/>
                <a:gd name="connsiteY30" fmla="*/ 46101 h 142970"/>
                <a:gd name="connsiteX31" fmla="*/ 45434 w 109823"/>
                <a:gd name="connsiteY31" fmla="*/ 51054 h 142970"/>
                <a:gd name="connsiteX32" fmla="*/ 55340 w 109823"/>
                <a:gd name="connsiteY32" fmla="*/ 55245 h 142970"/>
                <a:gd name="connsiteX33" fmla="*/ 66961 w 109823"/>
                <a:gd name="connsiteY33" fmla="*/ 59055 h 142970"/>
                <a:gd name="connsiteX34" fmla="*/ 82105 w 109823"/>
                <a:gd name="connsiteY34" fmla="*/ 64484 h 142970"/>
                <a:gd name="connsiteX35" fmla="*/ 95821 w 109823"/>
                <a:gd name="connsiteY35" fmla="*/ 72200 h 142970"/>
                <a:gd name="connsiteX36" fmla="*/ 105918 w 109823"/>
                <a:gd name="connsiteY36" fmla="*/ 83249 h 142970"/>
                <a:gd name="connsiteX37" fmla="*/ 109823 w 109823"/>
                <a:gd name="connsiteY37" fmla="*/ 99155 h 142970"/>
                <a:gd name="connsiteX38" fmla="*/ 109823 w 109823"/>
                <a:gd name="connsiteY38" fmla="*/ 99632 h 142970"/>
                <a:gd name="connsiteX39" fmla="*/ 105918 w 109823"/>
                <a:gd name="connsiteY39" fmla="*/ 118682 h 142970"/>
                <a:gd name="connsiteX40" fmla="*/ 95059 w 109823"/>
                <a:gd name="connsiteY40" fmla="*/ 132112 h 142970"/>
                <a:gd name="connsiteX41" fmla="*/ 78772 w 109823"/>
                <a:gd name="connsiteY41" fmla="*/ 140208 h 142970"/>
                <a:gd name="connsiteX42" fmla="*/ 58674 w 109823"/>
                <a:gd name="connsiteY42" fmla="*/ 142970 h 14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9823" h="142970">
                  <a:moveTo>
                    <a:pt x="58579" y="142780"/>
                  </a:moveTo>
                  <a:cubicBezTo>
                    <a:pt x="48673" y="142780"/>
                    <a:pt x="38576" y="140970"/>
                    <a:pt x="28384" y="137541"/>
                  </a:cubicBezTo>
                  <a:cubicBezTo>
                    <a:pt x="18193" y="134017"/>
                    <a:pt x="8763" y="128873"/>
                    <a:pt x="0" y="121920"/>
                  </a:cubicBezTo>
                  <a:lnTo>
                    <a:pt x="14097" y="100489"/>
                  </a:lnTo>
                  <a:cubicBezTo>
                    <a:pt x="21622" y="106108"/>
                    <a:pt x="29242" y="110300"/>
                    <a:pt x="36957" y="113157"/>
                  </a:cubicBezTo>
                  <a:cubicBezTo>
                    <a:pt x="44672" y="116015"/>
                    <a:pt x="52197" y="117443"/>
                    <a:pt x="59341" y="117443"/>
                  </a:cubicBezTo>
                  <a:cubicBezTo>
                    <a:pt x="66484" y="117443"/>
                    <a:pt x="71438" y="116110"/>
                    <a:pt x="75152" y="113443"/>
                  </a:cubicBezTo>
                  <a:cubicBezTo>
                    <a:pt x="78867" y="110776"/>
                    <a:pt x="80772" y="107156"/>
                    <a:pt x="80772" y="102584"/>
                  </a:cubicBezTo>
                  <a:lnTo>
                    <a:pt x="80772" y="102108"/>
                  </a:lnTo>
                  <a:cubicBezTo>
                    <a:pt x="80772" y="99536"/>
                    <a:pt x="79915" y="97250"/>
                    <a:pt x="78296" y="95345"/>
                  </a:cubicBezTo>
                  <a:cubicBezTo>
                    <a:pt x="76676" y="93440"/>
                    <a:pt x="74390" y="91821"/>
                    <a:pt x="71533" y="90392"/>
                  </a:cubicBezTo>
                  <a:cubicBezTo>
                    <a:pt x="68675" y="88964"/>
                    <a:pt x="65342" y="87725"/>
                    <a:pt x="61627" y="86487"/>
                  </a:cubicBezTo>
                  <a:cubicBezTo>
                    <a:pt x="57912" y="85249"/>
                    <a:pt x="54007" y="84011"/>
                    <a:pt x="50006" y="82868"/>
                  </a:cubicBezTo>
                  <a:cubicBezTo>
                    <a:pt x="44958" y="81439"/>
                    <a:pt x="39815" y="79820"/>
                    <a:pt x="34671" y="77915"/>
                  </a:cubicBezTo>
                  <a:cubicBezTo>
                    <a:pt x="29528" y="76010"/>
                    <a:pt x="24955" y="73533"/>
                    <a:pt x="20860" y="70485"/>
                  </a:cubicBezTo>
                  <a:cubicBezTo>
                    <a:pt x="16764" y="67437"/>
                    <a:pt x="13430" y="63627"/>
                    <a:pt x="10763" y="59150"/>
                  </a:cubicBezTo>
                  <a:cubicBezTo>
                    <a:pt x="8096" y="54674"/>
                    <a:pt x="6858" y="49054"/>
                    <a:pt x="6858" y="42482"/>
                  </a:cubicBezTo>
                  <a:lnTo>
                    <a:pt x="6858" y="42005"/>
                  </a:lnTo>
                  <a:cubicBezTo>
                    <a:pt x="6858" y="35624"/>
                    <a:pt x="8096" y="29718"/>
                    <a:pt x="10668" y="24575"/>
                  </a:cubicBezTo>
                  <a:cubicBezTo>
                    <a:pt x="13145" y="19336"/>
                    <a:pt x="16669" y="14954"/>
                    <a:pt x="21146" y="11240"/>
                  </a:cubicBezTo>
                  <a:cubicBezTo>
                    <a:pt x="25622" y="7620"/>
                    <a:pt x="30766" y="4763"/>
                    <a:pt x="36862" y="2858"/>
                  </a:cubicBezTo>
                  <a:cubicBezTo>
                    <a:pt x="42863" y="953"/>
                    <a:pt x="49244" y="0"/>
                    <a:pt x="56102" y="0"/>
                  </a:cubicBezTo>
                  <a:cubicBezTo>
                    <a:pt x="64770" y="0"/>
                    <a:pt x="73628" y="1429"/>
                    <a:pt x="82487" y="4191"/>
                  </a:cubicBezTo>
                  <a:cubicBezTo>
                    <a:pt x="91345" y="6953"/>
                    <a:pt x="99441" y="10858"/>
                    <a:pt x="106775" y="15812"/>
                  </a:cubicBezTo>
                  <a:lnTo>
                    <a:pt x="94202" y="38386"/>
                  </a:lnTo>
                  <a:cubicBezTo>
                    <a:pt x="87535" y="34385"/>
                    <a:pt x="80867" y="31242"/>
                    <a:pt x="74104" y="28861"/>
                  </a:cubicBezTo>
                  <a:cubicBezTo>
                    <a:pt x="67342" y="26480"/>
                    <a:pt x="61055" y="25337"/>
                    <a:pt x="55245" y="25337"/>
                  </a:cubicBezTo>
                  <a:cubicBezTo>
                    <a:pt x="49149" y="25337"/>
                    <a:pt x="44387" y="26670"/>
                    <a:pt x="40958" y="29242"/>
                  </a:cubicBezTo>
                  <a:cubicBezTo>
                    <a:pt x="37529" y="31814"/>
                    <a:pt x="35909" y="35147"/>
                    <a:pt x="35909" y="39148"/>
                  </a:cubicBezTo>
                  <a:lnTo>
                    <a:pt x="35909" y="39719"/>
                  </a:lnTo>
                  <a:cubicBezTo>
                    <a:pt x="35909" y="42101"/>
                    <a:pt x="36767" y="44291"/>
                    <a:pt x="38481" y="46101"/>
                  </a:cubicBezTo>
                  <a:cubicBezTo>
                    <a:pt x="40196" y="47911"/>
                    <a:pt x="42482" y="49625"/>
                    <a:pt x="45434" y="51054"/>
                  </a:cubicBezTo>
                  <a:cubicBezTo>
                    <a:pt x="48387" y="52483"/>
                    <a:pt x="51625" y="53912"/>
                    <a:pt x="55340" y="55245"/>
                  </a:cubicBezTo>
                  <a:cubicBezTo>
                    <a:pt x="59055" y="56579"/>
                    <a:pt x="62960" y="57817"/>
                    <a:pt x="66961" y="59055"/>
                  </a:cubicBezTo>
                  <a:cubicBezTo>
                    <a:pt x="72009" y="60579"/>
                    <a:pt x="77057" y="62484"/>
                    <a:pt x="82105" y="64484"/>
                  </a:cubicBezTo>
                  <a:cubicBezTo>
                    <a:pt x="87154" y="66580"/>
                    <a:pt x="91726" y="69152"/>
                    <a:pt x="95821" y="72200"/>
                  </a:cubicBezTo>
                  <a:cubicBezTo>
                    <a:pt x="99917" y="75248"/>
                    <a:pt x="103251" y="78962"/>
                    <a:pt x="105918" y="83249"/>
                  </a:cubicBezTo>
                  <a:cubicBezTo>
                    <a:pt x="108585" y="87535"/>
                    <a:pt x="109823" y="92869"/>
                    <a:pt x="109823" y="99155"/>
                  </a:cubicBezTo>
                  <a:lnTo>
                    <a:pt x="109823" y="99632"/>
                  </a:lnTo>
                  <a:cubicBezTo>
                    <a:pt x="109823" y="106966"/>
                    <a:pt x="108490" y="113252"/>
                    <a:pt x="105918" y="118682"/>
                  </a:cubicBezTo>
                  <a:cubicBezTo>
                    <a:pt x="103346" y="124111"/>
                    <a:pt x="99727" y="128588"/>
                    <a:pt x="95059" y="132112"/>
                  </a:cubicBezTo>
                  <a:cubicBezTo>
                    <a:pt x="90392" y="135636"/>
                    <a:pt x="84963" y="138398"/>
                    <a:pt x="78772" y="140208"/>
                  </a:cubicBezTo>
                  <a:cubicBezTo>
                    <a:pt x="72485" y="142018"/>
                    <a:pt x="65818" y="142970"/>
                    <a:pt x="58674" y="142970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027A97A-CEF8-AFD0-FAEF-31A6FF9CEBE4}"/>
                </a:ext>
              </a:extLst>
            </p:cNvPr>
            <p:cNvSpPr/>
            <p:nvPr/>
          </p:nvSpPr>
          <p:spPr>
            <a:xfrm>
              <a:off x="962469" y="4557267"/>
              <a:ext cx="75152" cy="88582"/>
            </a:xfrm>
            <a:custGeom>
              <a:avLst/>
              <a:gdLst>
                <a:gd name="connsiteX0" fmla="*/ 31813 w 75152"/>
                <a:gd name="connsiteY0" fmla="*/ 88487 h 88582"/>
                <a:gd name="connsiteX1" fmla="*/ 20098 w 75152"/>
                <a:gd name="connsiteY1" fmla="*/ 86868 h 88582"/>
                <a:gd name="connsiteX2" fmla="*/ 9906 w 75152"/>
                <a:gd name="connsiteY2" fmla="*/ 81820 h 88582"/>
                <a:gd name="connsiteX3" fmla="*/ 2762 w 75152"/>
                <a:gd name="connsiteY3" fmla="*/ 73438 h 88582"/>
                <a:gd name="connsiteX4" fmla="*/ 0 w 75152"/>
                <a:gd name="connsiteY4" fmla="*/ 61913 h 88582"/>
                <a:gd name="connsiteX5" fmla="*/ 0 w 75152"/>
                <a:gd name="connsiteY5" fmla="*/ 61532 h 88582"/>
                <a:gd name="connsiteX6" fmla="*/ 2667 w 75152"/>
                <a:gd name="connsiteY6" fmla="*/ 49435 h 88582"/>
                <a:gd name="connsiteX7" fmla="*/ 10192 w 75152"/>
                <a:gd name="connsiteY7" fmla="*/ 40767 h 88582"/>
                <a:gd name="connsiteX8" fmla="*/ 21717 w 75152"/>
                <a:gd name="connsiteY8" fmla="*/ 35528 h 88582"/>
                <a:gd name="connsiteX9" fmla="*/ 36481 w 75152"/>
                <a:gd name="connsiteY9" fmla="*/ 33719 h 88582"/>
                <a:gd name="connsiteX10" fmla="*/ 50768 w 75152"/>
                <a:gd name="connsiteY10" fmla="*/ 34671 h 88582"/>
                <a:gd name="connsiteX11" fmla="*/ 62579 w 75152"/>
                <a:gd name="connsiteY11" fmla="*/ 37338 h 88582"/>
                <a:gd name="connsiteX12" fmla="*/ 62579 w 75152"/>
                <a:gd name="connsiteY12" fmla="*/ 34671 h 88582"/>
                <a:gd name="connsiteX13" fmla="*/ 56007 w 75152"/>
                <a:gd name="connsiteY13" fmla="*/ 17526 h 88582"/>
                <a:gd name="connsiteX14" fmla="*/ 37338 w 75152"/>
                <a:gd name="connsiteY14" fmla="*/ 11716 h 88582"/>
                <a:gd name="connsiteX15" fmla="*/ 23527 w 75152"/>
                <a:gd name="connsiteY15" fmla="*/ 13335 h 88582"/>
                <a:gd name="connsiteX16" fmla="*/ 11430 w 75152"/>
                <a:gd name="connsiteY16" fmla="*/ 17812 h 88582"/>
                <a:gd name="connsiteX17" fmla="*/ 7620 w 75152"/>
                <a:gd name="connsiteY17" fmla="*/ 7334 h 88582"/>
                <a:gd name="connsiteX18" fmla="*/ 22003 w 75152"/>
                <a:gd name="connsiteY18" fmla="*/ 2000 h 88582"/>
                <a:gd name="connsiteX19" fmla="*/ 38672 w 75152"/>
                <a:gd name="connsiteY19" fmla="*/ 0 h 88582"/>
                <a:gd name="connsiteX20" fmla="*/ 66199 w 75152"/>
                <a:gd name="connsiteY20" fmla="*/ 9430 h 88582"/>
                <a:gd name="connsiteX21" fmla="*/ 75152 w 75152"/>
                <a:gd name="connsiteY21" fmla="*/ 34481 h 88582"/>
                <a:gd name="connsiteX22" fmla="*/ 75152 w 75152"/>
                <a:gd name="connsiteY22" fmla="*/ 86678 h 88582"/>
                <a:gd name="connsiteX23" fmla="*/ 62579 w 75152"/>
                <a:gd name="connsiteY23" fmla="*/ 86678 h 88582"/>
                <a:gd name="connsiteX24" fmla="*/ 62579 w 75152"/>
                <a:gd name="connsiteY24" fmla="*/ 74009 h 88582"/>
                <a:gd name="connsiteX25" fmla="*/ 50578 w 75152"/>
                <a:gd name="connsiteY25" fmla="*/ 84201 h 88582"/>
                <a:gd name="connsiteX26" fmla="*/ 31813 w 75152"/>
                <a:gd name="connsiteY26" fmla="*/ 88583 h 88582"/>
                <a:gd name="connsiteX27" fmla="*/ 34385 w 75152"/>
                <a:gd name="connsiteY27" fmla="*/ 78105 h 88582"/>
                <a:gd name="connsiteX28" fmla="*/ 45434 w 75152"/>
                <a:gd name="connsiteY28" fmla="*/ 76486 h 88582"/>
                <a:gd name="connsiteX29" fmla="*/ 54388 w 75152"/>
                <a:gd name="connsiteY29" fmla="*/ 71819 h 88582"/>
                <a:gd name="connsiteX30" fmla="*/ 60484 w 75152"/>
                <a:gd name="connsiteY30" fmla="*/ 64579 h 88582"/>
                <a:gd name="connsiteX31" fmla="*/ 62675 w 75152"/>
                <a:gd name="connsiteY31" fmla="*/ 55340 h 88582"/>
                <a:gd name="connsiteX32" fmla="*/ 62675 w 75152"/>
                <a:gd name="connsiteY32" fmla="*/ 47435 h 88582"/>
                <a:gd name="connsiteX33" fmla="*/ 51816 w 75152"/>
                <a:gd name="connsiteY33" fmla="*/ 44958 h 88582"/>
                <a:gd name="connsiteX34" fmla="*/ 37814 w 75152"/>
                <a:gd name="connsiteY34" fmla="*/ 43815 h 88582"/>
                <a:gd name="connsiteX35" fmla="*/ 19431 w 75152"/>
                <a:gd name="connsiteY35" fmla="*/ 48482 h 88582"/>
                <a:gd name="connsiteX36" fmla="*/ 12954 w 75152"/>
                <a:gd name="connsiteY36" fmla="*/ 60865 h 88582"/>
                <a:gd name="connsiteX37" fmla="*/ 12954 w 75152"/>
                <a:gd name="connsiteY37" fmla="*/ 61246 h 88582"/>
                <a:gd name="connsiteX38" fmla="*/ 14669 w 75152"/>
                <a:gd name="connsiteY38" fmla="*/ 68390 h 88582"/>
                <a:gd name="connsiteX39" fmla="*/ 19336 w 75152"/>
                <a:gd name="connsiteY39" fmla="*/ 73724 h 88582"/>
                <a:gd name="connsiteX40" fmla="*/ 26194 w 75152"/>
                <a:gd name="connsiteY40" fmla="*/ 76962 h 88582"/>
                <a:gd name="connsiteX41" fmla="*/ 34385 w 75152"/>
                <a:gd name="connsiteY41" fmla="*/ 78105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5152" h="88582">
                  <a:moveTo>
                    <a:pt x="31813" y="88487"/>
                  </a:moveTo>
                  <a:cubicBezTo>
                    <a:pt x="27813" y="88487"/>
                    <a:pt x="23908" y="87916"/>
                    <a:pt x="20098" y="86868"/>
                  </a:cubicBezTo>
                  <a:cubicBezTo>
                    <a:pt x="16288" y="85820"/>
                    <a:pt x="12859" y="84106"/>
                    <a:pt x="9906" y="81820"/>
                  </a:cubicBezTo>
                  <a:cubicBezTo>
                    <a:pt x="6953" y="79534"/>
                    <a:pt x="4572" y="76771"/>
                    <a:pt x="2762" y="73438"/>
                  </a:cubicBezTo>
                  <a:cubicBezTo>
                    <a:pt x="952" y="70104"/>
                    <a:pt x="0" y="66294"/>
                    <a:pt x="0" y="61913"/>
                  </a:cubicBezTo>
                  <a:lnTo>
                    <a:pt x="0" y="61532"/>
                  </a:lnTo>
                  <a:cubicBezTo>
                    <a:pt x="0" y="56864"/>
                    <a:pt x="857" y="52864"/>
                    <a:pt x="2667" y="49435"/>
                  </a:cubicBezTo>
                  <a:cubicBezTo>
                    <a:pt x="4477" y="46006"/>
                    <a:pt x="6953" y="43053"/>
                    <a:pt x="10192" y="40767"/>
                  </a:cubicBezTo>
                  <a:cubicBezTo>
                    <a:pt x="13430" y="38481"/>
                    <a:pt x="17335" y="36671"/>
                    <a:pt x="21717" y="35528"/>
                  </a:cubicBezTo>
                  <a:cubicBezTo>
                    <a:pt x="26098" y="34385"/>
                    <a:pt x="31147" y="33719"/>
                    <a:pt x="36481" y="33719"/>
                  </a:cubicBezTo>
                  <a:cubicBezTo>
                    <a:pt x="41815" y="33719"/>
                    <a:pt x="46768" y="34004"/>
                    <a:pt x="50768" y="34671"/>
                  </a:cubicBezTo>
                  <a:cubicBezTo>
                    <a:pt x="54769" y="35338"/>
                    <a:pt x="58674" y="36195"/>
                    <a:pt x="62579" y="37338"/>
                  </a:cubicBezTo>
                  <a:lnTo>
                    <a:pt x="62579" y="34671"/>
                  </a:lnTo>
                  <a:cubicBezTo>
                    <a:pt x="62579" y="27146"/>
                    <a:pt x="60389" y="21431"/>
                    <a:pt x="56007" y="17526"/>
                  </a:cubicBezTo>
                  <a:cubicBezTo>
                    <a:pt x="51626" y="13621"/>
                    <a:pt x="45339" y="11716"/>
                    <a:pt x="37338" y="11716"/>
                  </a:cubicBezTo>
                  <a:cubicBezTo>
                    <a:pt x="32290" y="11716"/>
                    <a:pt x="27718" y="12287"/>
                    <a:pt x="23527" y="13335"/>
                  </a:cubicBezTo>
                  <a:cubicBezTo>
                    <a:pt x="19431" y="14478"/>
                    <a:pt x="15335" y="15907"/>
                    <a:pt x="11430" y="17812"/>
                  </a:cubicBezTo>
                  <a:lnTo>
                    <a:pt x="7620" y="7334"/>
                  </a:lnTo>
                  <a:cubicBezTo>
                    <a:pt x="12382" y="5144"/>
                    <a:pt x="17145" y="3334"/>
                    <a:pt x="22003" y="2000"/>
                  </a:cubicBezTo>
                  <a:cubicBezTo>
                    <a:pt x="26860" y="667"/>
                    <a:pt x="32385" y="0"/>
                    <a:pt x="38672" y="0"/>
                  </a:cubicBezTo>
                  <a:cubicBezTo>
                    <a:pt x="50768" y="0"/>
                    <a:pt x="60008" y="3143"/>
                    <a:pt x="66199" y="9430"/>
                  </a:cubicBezTo>
                  <a:cubicBezTo>
                    <a:pt x="72104" y="15335"/>
                    <a:pt x="75152" y="23717"/>
                    <a:pt x="75152" y="34481"/>
                  </a:cubicBezTo>
                  <a:lnTo>
                    <a:pt x="75152" y="86678"/>
                  </a:lnTo>
                  <a:lnTo>
                    <a:pt x="62579" y="86678"/>
                  </a:lnTo>
                  <a:lnTo>
                    <a:pt x="62579" y="74009"/>
                  </a:lnTo>
                  <a:cubicBezTo>
                    <a:pt x="59627" y="77819"/>
                    <a:pt x="55626" y="81248"/>
                    <a:pt x="50578" y="84201"/>
                  </a:cubicBezTo>
                  <a:cubicBezTo>
                    <a:pt x="45529" y="87154"/>
                    <a:pt x="39338" y="88583"/>
                    <a:pt x="31813" y="88583"/>
                  </a:cubicBezTo>
                  <a:close/>
                  <a:moveTo>
                    <a:pt x="34385" y="78105"/>
                  </a:moveTo>
                  <a:cubicBezTo>
                    <a:pt x="38291" y="78105"/>
                    <a:pt x="42005" y="77533"/>
                    <a:pt x="45434" y="76486"/>
                  </a:cubicBezTo>
                  <a:cubicBezTo>
                    <a:pt x="48863" y="75343"/>
                    <a:pt x="51816" y="73819"/>
                    <a:pt x="54388" y="71819"/>
                  </a:cubicBezTo>
                  <a:cubicBezTo>
                    <a:pt x="56959" y="69818"/>
                    <a:pt x="58960" y="67342"/>
                    <a:pt x="60484" y="64579"/>
                  </a:cubicBezTo>
                  <a:cubicBezTo>
                    <a:pt x="62008" y="61817"/>
                    <a:pt x="62675" y="58674"/>
                    <a:pt x="62675" y="55340"/>
                  </a:cubicBezTo>
                  <a:lnTo>
                    <a:pt x="62675" y="47435"/>
                  </a:lnTo>
                  <a:cubicBezTo>
                    <a:pt x="59531" y="46577"/>
                    <a:pt x="55912" y="45720"/>
                    <a:pt x="51816" y="44958"/>
                  </a:cubicBezTo>
                  <a:cubicBezTo>
                    <a:pt x="47720" y="44196"/>
                    <a:pt x="43053" y="43815"/>
                    <a:pt x="37814" y="43815"/>
                  </a:cubicBezTo>
                  <a:cubicBezTo>
                    <a:pt x="29908" y="43815"/>
                    <a:pt x="23813" y="45339"/>
                    <a:pt x="19431" y="48482"/>
                  </a:cubicBezTo>
                  <a:cubicBezTo>
                    <a:pt x="15049" y="51625"/>
                    <a:pt x="12954" y="55721"/>
                    <a:pt x="12954" y="60865"/>
                  </a:cubicBezTo>
                  <a:lnTo>
                    <a:pt x="12954" y="61246"/>
                  </a:lnTo>
                  <a:cubicBezTo>
                    <a:pt x="12954" y="63913"/>
                    <a:pt x="13526" y="66294"/>
                    <a:pt x="14669" y="68390"/>
                  </a:cubicBezTo>
                  <a:cubicBezTo>
                    <a:pt x="15811" y="70485"/>
                    <a:pt x="17335" y="72295"/>
                    <a:pt x="19336" y="73724"/>
                  </a:cubicBezTo>
                  <a:cubicBezTo>
                    <a:pt x="21336" y="75152"/>
                    <a:pt x="23622" y="76200"/>
                    <a:pt x="26194" y="76962"/>
                  </a:cubicBezTo>
                  <a:cubicBezTo>
                    <a:pt x="28766" y="77724"/>
                    <a:pt x="31528" y="78105"/>
                    <a:pt x="34385" y="78105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DC29014-DF8C-90DD-1F4B-7AFC058EB75B}"/>
                </a:ext>
              </a:extLst>
            </p:cNvPr>
            <p:cNvSpPr/>
            <p:nvPr/>
          </p:nvSpPr>
          <p:spPr>
            <a:xfrm>
              <a:off x="1056862" y="4532883"/>
              <a:ext cx="51625" cy="112585"/>
            </a:xfrm>
            <a:custGeom>
              <a:avLst/>
              <a:gdLst>
                <a:gd name="connsiteX0" fmla="*/ 36100 w 51625"/>
                <a:gd name="connsiteY0" fmla="*/ 112586 h 112585"/>
                <a:gd name="connsiteX1" fmla="*/ 26479 w 51625"/>
                <a:gd name="connsiteY1" fmla="*/ 111252 h 112585"/>
                <a:gd name="connsiteX2" fmla="*/ 18764 w 51625"/>
                <a:gd name="connsiteY2" fmla="*/ 107061 h 112585"/>
                <a:gd name="connsiteX3" fmla="*/ 13716 w 51625"/>
                <a:gd name="connsiteY3" fmla="*/ 99536 h 112585"/>
                <a:gd name="connsiteX4" fmla="*/ 11906 w 51625"/>
                <a:gd name="connsiteY4" fmla="*/ 88487 h 112585"/>
                <a:gd name="connsiteX5" fmla="*/ 11906 w 51625"/>
                <a:gd name="connsiteY5" fmla="*/ 36957 h 112585"/>
                <a:gd name="connsiteX6" fmla="*/ 0 w 51625"/>
                <a:gd name="connsiteY6" fmla="*/ 36957 h 112585"/>
                <a:gd name="connsiteX7" fmla="*/ 0 w 51625"/>
                <a:gd name="connsiteY7" fmla="*/ 25717 h 112585"/>
                <a:gd name="connsiteX8" fmla="*/ 11906 w 51625"/>
                <a:gd name="connsiteY8" fmla="*/ 25717 h 112585"/>
                <a:gd name="connsiteX9" fmla="*/ 11906 w 51625"/>
                <a:gd name="connsiteY9" fmla="*/ 0 h 112585"/>
                <a:gd name="connsiteX10" fmla="*/ 24575 w 51625"/>
                <a:gd name="connsiteY10" fmla="*/ 0 h 112585"/>
                <a:gd name="connsiteX11" fmla="*/ 24575 w 51625"/>
                <a:gd name="connsiteY11" fmla="*/ 25717 h 112585"/>
                <a:gd name="connsiteX12" fmla="*/ 51625 w 51625"/>
                <a:gd name="connsiteY12" fmla="*/ 25717 h 112585"/>
                <a:gd name="connsiteX13" fmla="*/ 51625 w 51625"/>
                <a:gd name="connsiteY13" fmla="*/ 36957 h 112585"/>
                <a:gd name="connsiteX14" fmla="*/ 24575 w 51625"/>
                <a:gd name="connsiteY14" fmla="*/ 36957 h 112585"/>
                <a:gd name="connsiteX15" fmla="*/ 24575 w 51625"/>
                <a:gd name="connsiteY15" fmla="*/ 86678 h 112585"/>
                <a:gd name="connsiteX16" fmla="*/ 28575 w 51625"/>
                <a:gd name="connsiteY16" fmla="*/ 97727 h 112585"/>
                <a:gd name="connsiteX17" fmla="*/ 38957 w 51625"/>
                <a:gd name="connsiteY17" fmla="*/ 100870 h 112585"/>
                <a:gd name="connsiteX18" fmla="*/ 45149 w 51625"/>
                <a:gd name="connsiteY18" fmla="*/ 100203 h 112585"/>
                <a:gd name="connsiteX19" fmla="*/ 51340 w 51625"/>
                <a:gd name="connsiteY19" fmla="*/ 98012 h 112585"/>
                <a:gd name="connsiteX20" fmla="*/ 51340 w 51625"/>
                <a:gd name="connsiteY20" fmla="*/ 108871 h 112585"/>
                <a:gd name="connsiteX21" fmla="*/ 44291 w 51625"/>
                <a:gd name="connsiteY21" fmla="*/ 111633 h 112585"/>
                <a:gd name="connsiteX22" fmla="*/ 35909 w 51625"/>
                <a:gd name="connsiteY22" fmla="*/ 112586 h 112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625" h="112585">
                  <a:moveTo>
                    <a:pt x="36100" y="112586"/>
                  </a:moveTo>
                  <a:cubicBezTo>
                    <a:pt x="32671" y="112586"/>
                    <a:pt x="29527" y="112109"/>
                    <a:pt x="26479" y="111252"/>
                  </a:cubicBezTo>
                  <a:cubicBezTo>
                    <a:pt x="23527" y="110395"/>
                    <a:pt x="20955" y="108966"/>
                    <a:pt x="18764" y="107061"/>
                  </a:cubicBezTo>
                  <a:cubicBezTo>
                    <a:pt x="16669" y="105156"/>
                    <a:pt x="14954" y="102679"/>
                    <a:pt x="13716" y="99536"/>
                  </a:cubicBezTo>
                  <a:cubicBezTo>
                    <a:pt x="12478" y="96393"/>
                    <a:pt x="11906" y="92774"/>
                    <a:pt x="11906" y="88487"/>
                  </a:cubicBezTo>
                  <a:lnTo>
                    <a:pt x="11906" y="36957"/>
                  </a:lnTo>
                  <a:lnTo>
                    <a:pt x="0" y="36957"/>
                  </a:lnTo>
                  <a:lnTo>
                    <a:pt x="0" y="25717"/>
                  </a:lnTo>
                  <a:lnTo>
                    <a:pt x="11906" y="25717"/>
                  </a:lnTo>
                  <a:lnTo>
                    <a:pt x="11906" y="0"/>
                  </a:lnTo>
                  <a:lnTo>
                    <a:pt x="24575" y="0"/>
                  </a:lnTo>
                  <a:lnTo>
                    <a:pt x="24575" y="25717"/>
                  </a:lnTo>
                  <a:lnTo>
                    <a:pt x="51625" y="25717"/>
                  </a:lnTo>
                  <a:lnTo>
                    <a:pt x="51625" y="36957"/>
                  </a:lnTo>
                  <a:lnTo>
                    <a:pt x="24575" y="36957"/>
                  </a:lnTo>
                  <a:lnTo>
                    <a:pt x="24575" y="86678"/>
                  </a:lnTo>
                  <a:cubicBezTo>
                    <a:pt x="24575" y="91916"/>
                    <a:pt x="25908" y="95631"/>
                    <a:pt x="28575" y="97727"/>
                  </a:cubicBezTo>
                  <a:cubicBezTo>
                    <a:pt x="31242" y="99822"/>
                    <a:pt x="34671" y="100870"/>
                    <a:pt x="38957" y="100870"/>
                  </a:cubicBezTo>
                  <a:cubicBezTo>
                    <a:pt x="41148" y="100870"/>
                    <a:pt x="43244" y="100679"/>
                    <a:pt x="45149" y="100203"/>
                  </a:cubicBezTo>
                  <a:cubicBezTo>
                    <a:pt x="47053" y="99727"/>
                    <a:pt x="49149" y="99060"/>
                    <a:pt x="51340" y="98012"/>
                  </a:cubicBezTo>
                  <a:lnTo>
                    <a:pt x="51340" y="108871"/>
                  </a:lnTo>
                  <a:cubicBezTo>
                    <a:pt x="49149" y="110109"/>
                    <a:pt x="46768" y="110966"/>
                    <a:pt x="44291" y="111633"/>
                  </a:cubicBezTo>
                  <a:cubicBezTo>
                    <a:pt x="41815" y="112204"/>
                    <a:pt x="39052" y="112586"/>
                    <a:pt x="35909" y="112586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25AE284-1D37-890D-0080-77B703F86988}"/>
                </a:ext>
              </a:extLst>
            </p:cNvPr>
            <p:cNvSpPr/>
            <p:nvPr/>
          </p:nvSpPr>
          <p:spPr>
            <a:xfrm>
              <a:off x="1131443" y="4525930"/>
              <a:ext cx="14477" cy="118014"/>
            </a:xfrm>
            <a:custGeom>
              <a:avLst/>
              <a:gdLst>
                <a:gd name="connsiteX0" fmla="*/ 0 w 14477"/>
                <a:gd name="connsiteY0" fmla="*/ 0 h 118014"/>
                <a:gd name="connsiteX1" fmla="*/ 14478 w 14477"/>
                <a:gd name="connsiteY1" fmla="*/ 0 h 118014"/>
                <a:gd name="connsiteX2" fmla="*/ 14478 w 14477"/>
                <a:gd name="connsiteY2" fmla="*/ 14002 h 118014"/>
                <a:gd name="connsiteX3" fmla="*/ 0 w 14477"/>
                <a:gd name="connsiteY3" fmla="*/ 14002 h 118014"/>
                <a:gd name="connsiteX4" fmla="*/ 0 w 14477"/>
                <a:gd name="connsiteY4" fmla="*/ 0 h 118014"/>
                <a:gd name="connsiteX5" fmla="*/ 857 w 14477"/>
                <a:gd name="connsiteY5" fmla="*/ 32671 h 118014"/>
                <a:gd name="connsiteX6" fmla="*/ 13526 w 14477"/>
                <a:gd name="connsiteY6" fmla="*/ 32671 h 118014"/>
                <a:gd name="connsiteX7" fmla="*/ 13526 w 14477"/>
                <a:gd name="connsiteY7" fmla="*/ 118015 h 118014"/>
                <a:gd name="connsiteX8" fmla="*/ 857 w 14477"/>
                <a:gd name="connsiteY8" fmla="*/ 118015 h 118014"/>
                <a:gd name="connsiteX9" fmla="*/ 857 w 14477"/>
                <a:gd name="connsiteY9" fmla="*/ 32671 h 11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7" h="118014">
                  <a:moveTo>
                    <a:pt x="0" y="0"/>
                  </a:moveTo>
                  <a:lnTo>
                    <a:pt x="14478" y="0"/>
                  </a:lnTo>
                  <a:lnTo>
                    <a:pt x="14478" y="14002"/>
                  </a:lnTo>
                  <a:lnTo>
                    <a:pt x="0" y="14002"/>
                  </a:lnTo>
                  <a:lnTo>
                    <a:pt x="0" y="0"/>
                  </a:lnTo>
                  <a:close/>
                  <a:moveTo>
                    <a:pt x="857" y="32671"/>
                  </a:moveTo>
                  <a:lnTo>
                    <a:pt x="13526" y="32671"/>
                  </a:lnTo>
                  <a:lnTo>
                    <a:pt x="13526" y="118015"/>
                  </a:lnTo>
                  <a:lnTo>
                    <a:pt x="857" y="118015"/>
                  </a:lnTo>
                  <a:lnTo>
                    <a:pt x="857" y="32671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06E86E8E-263C-1AA7-F6B1-38B6E4AAFED8}"/>
                </a:ext>
              </a:extLst>
            </p:cNvPr>
            <p:cNvSpPr/>
            <p:nvPr/>
          </p:nvSpPr>
          <p:spPr>
            <a:xfrm>
              <a:off x="1166971" y="4532883"/>
              <a:ext cx="51625" cy="112585"/>
            </a:xfrm>
            <a:custGeom>
              <a:avLst/>
              <a:gdLst>
                <a:gd name="connsiteX0" fmla="*/ 36004 w 51625"/>
                <a:gd name="connsiteY0" fmla="*/ 112586 h 112585"/>
                <a:gd name="connsiteX1" fmla="*/ 26479 w 51625"/>
                <a:gd name="connsiteY1" fmla="*/ 111252 h 112585"/>
                <a:gd name="connsiteX2" fmla="*/ 18764 w 51625"/>
                <a:gd name="connsiteY2" fmla="*/ 107061 h 112585"/>
                <a:gd name="connsiteX3" fmla="*/ 13716 w 51625"/>
                <a:gd name="connsiteY3" fmla="*/ 99536 h 112585"/>
                <a:gd name="connsiteX4" fmla="*/ 11906 w 51625"/>
                <a:gd name="connsiteY4" fmla="*/ 88487 h 112585"/>
                <a:gd name="connsiteX5" fmla="*/ 11906 w 51625"/>
                <a:gd name="connsiteY5" fmla="*/ 36957 h 112585"/>
                <a:gd name="connsiteX6" fmla="*/ 0 w 51625"/>
                <a:gd name="connsiteY6" fmla="*/ 36957 h 112585"/>
                <a:gd name="connsiteX7" fmla="*/ 0 w 51625"/>
                <a:gd name="connsiteY7" fmla="*/ 25717 h 112585"/>
                <a:gd name="connsiteX8" fmla="*/ 11906 w 51625"/>
                <a:gd name="connsiteY8" fmla="*/ 25717 h 112585"/>
                <a:gd name="connsiteX9" fmla="*/ 11906 w 51625"/>
                <a:gd name="connsiteY9" fmla="*/ 0 h 112585"/>
                <a:gd name="connsiteX10" fmla="*/ 24575 w 51625"/>
                <a:gd name="connsiteY10" fmla="*/ 0 h 112585"/>
                <a:gd name="connsiteX11" fmla="*/ 24575 w 51625"/>
                <a:gd name="connsiteY11" fmla="*/ 25717 h 112585"/>
                <a:gd name="connsiteX12" fmla="*/ 51626 w 51625"/>
                <a:gd name="connsiteY12" fmla="*/ 25717 h 112585"/>
                <a:gd name="connsiteX13" fmla="*/ 51626 w 51625"/>
                <a:gd name="connsiteY13" fmla="*/ 36957 h 112585"/>
                <a:gd name="connsiteX14" fmla="*/ 24575 w 51625"/>
                <a:gd name="connsiteY14" fmla="*/ 36957 h 112585"/>
                <a:gd name="connsiteX15" fmla="*/ 24575 w 51625"/>
                <a:gd name="connsiteY15" fmla="*/ 86678 h 112585"/>
                <a:gd name="connsiteX16" fmla="*/ 28575 w 51625"/>
                <a:gd name="connsiteY16" fmla="*/ 97727 h 112585"/>
                <a:gd name="connsiteX17" fmla="*/ 38957 w 51625"/>
                <a:gd name="connsiteY17" fmla="*/ 100870 h 112585"/>
                <a:gd name="connsiteX18" fmla="*/ 45148 w 51625"/>
                <a:gd name="connsiteY18" fmla="*/ 100203 h 112585"/>
                <a:gd name="connsiteX19" fmla="*/ 51340 w 51625"/>
                <a:gd name="connsiteY19" fmla="*/ 98012 h 112585"/>
                <a:gd name="connsiteX20" fmla="*/ 51340 w 51625"/>
                <a:gd name="connsiteY20" fmla="*/ 108871 h 112585"/>
                <a:gd name="connsiteX21" fmla="*/ 44291 w 51625"/>
                <a:gd name="connsiteY21" fmla="*/ 111633 h 112585"/>
                <a:gd name="connsiteX22" fmla="*/ 35909 w 51625"/>
                <a:gd name="connsiteY22" fmla="*/ 112586 h 112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625" h="112585">
                  <a:moveTo>
                    <a:pt x="36004" y="112586"/>
                  </a:moveTo>
                  <a:cubicBezTo>
                    <a:pt x="32576" y="112586"/>
                    <a:pt x="29432" y="112109"/>
                    <a:pt x="26479" y="111252"/>
                  </a:cubicBezTo>
                  <a:cubicBezTo>
                    <a:pt x="23527" y="110395"/>
                    <a:pt x="20955" y="108966"/>
                    <a:pt x="18764" y="107061"/>
                  </a:cubicBezTo>
                  <a:cubicBezTo>
                    <a:pt x="16573" y="105156"/>
                    <a:pt x="14954" y="102679"/>
                    <a:pt x="13716" y="99536"/>
                  </a:cubicBezTo>
                  <a:cubicBezTo>
                    <a:pt x="12478" y="96393"/>
                    <a:pt x="11906" y="92774"/>
                    <a:pt x="11906" y="88487"/>
                  </a:cubicBezTo>
                  <a:lnTo>
                    <a:pt x="11906" y="36957"/>
                  </a:lnTo>
                  <a:lnTo>
                    <a:pt x="0" y="36957"/>
                  </a:lnTo>
                  <a:lnTo>
                    <a:pt x="0" y="25717"/>
                  </a:lnTo>
                  <a:lnTo>
                    <a:pt x="11906" y="25717"/>
                  </a:lnTo>
                  <a:lnTo>
                    <a:pt x="11906" y="0"/>
                  </a:lnTo>
                  <a:lnTo>
                    <a:pt x="24575" y="0"/>
                  </a:lnTo>
                  <a:lnTo>
                    <a:pt x="24575" y="25717"/>
                  </a:lnTo>
                  <a:lnTo>
                    <a:pt x="51626" y="25717"/>
                  </a:lnTo>
                  <a:lnTo>
                    <a:pt x="51626" y="36957"/>
                  </a:lnTo>
                  <a:lnTo>
                    <a:pt x="24575" y="36957"/>
                  </a:lnTo>
                  <a:lnTo>
                    <a:pt x="24575" y="86678"/>
                  </a:lnTo>
                  <a:cubicBezTo>
                    <a:pt x="24575" y="91916"/>
                    <a:pt x="25908" y="95631"/>
                    <a:pt x="28575" y="97727"/>
                  </a:cubicBezTo>
                  <a:cubicBezTo>
                    <a:pt x="31242" y="99822"/>
                    <a:pt x="34671" y="100870"/>
                    <a:pt x="38957" y="100870"/>
                  </a:cubicBezTo>
                  <a:cubicBezTo>
                    <a:pt x="41148" y="100870"/>
                    <a:pt x="43243" y="100679"/>
                    <a:pt x="45148" y="100203"/>
                  </a:cubicBezTo>
                  <a:cubicBezTo>
                    <a:pt x="47054" y="99727"/>
                    <a:pt x="49149" y="99060"/>
                    <a:pt x="51340" y="98012"/>
                  </a:cubicBezTo>
                  <a:lnTo>
                    <a:pt x="51340" y="108871"/>
                  </a:lnTo>
                  <a:cubicBezTo>
                    <a:pt x="49149" y="110109"/>
                    <a:pt x="46768" y="110966"/>
                    <a:pt x="44291" y="111633"/>
                  </a:cubicBezTo>
                  <a:cubicBezTo>
                    <a:pt x="41815" y="112300"/>
                    <a:pt x="39053" y="112586"/>
                    <a:pt x="35909" y="112586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01BBEAD9-8FF5-9564-8A93-0207E2BCFA59}"/>
                </a:ext>
              </a:extLst>
            </p:cNvPr>
            <p:cNvSpPr/>
            <p:nvPr/>
          </p:nvSpPr>
          <p:spPr>
            <a:xfrm>
              <a:off x="1239837" y="4558601"/>
              <a:ext cx="74485" cy="87153"/>
            </a:xfrm>
            <a:custGeom>
              <a:avLst/>
              <a:gdLst>
                <a:gd name="connsiteX0" fmla="*/ 32671 w 74485"/>
                <a:gd name="connsiteY0" fmla="*/ 87154 h 87153"/>
                <a:gd name="connsiteX1" fmla="*/ 18859 w 74485"/>
                <a:gd name="connsiteY1" fmla="*/ 84677 h 87153"/>
                <a:gd name="connsiteX2" fmla="*/ 8668 w 74485"/>
                <a:gd name="connsiteY2" fmla="*/ 77629 h 87153"/>
                <a:gd name="connsiteX3" fmla="*/ 2191 w 74485"/>
                <a:gd name="connsiteY3" fmla="*/ 66866 h 87153"/>
                <a:gd name="connsiteX4" fmla="*/ 0 w 74485"/>
                <a:gd name="connsiteY4" fmla="*/ 52959 h 87153"/>
                <a:gd name="connsiteX5" fmla="*/ 0 w 74485"/>
                <a:gd name="connsiteY5" fmla="*/ 0 h 87153"/>
                <a:gd name="connsiteX6" fmla="*/ 12668 w 74485"/>
                <a:gd name="connsiteY6" fmla="*/ 0 h 87153"/>
                <a:gd name="connsiteX7" fmla="*/ 12668 w 74485"/>
                <a:gd name="connsiteY7" fmla="*/ 49721 h 87153"/>
                <a:gd name="connsiteX8" fmla="*/ 18764 w 74485"/>
                <a:gd name="connsiteY8" fmla="*/ 68485 h 87153"/>
                <a:gd name="connsiteX9" fmla="*/ 36290 w 74485"/>
                <a:gd name="connsiteY9" fmla="*/ 75438 h 87153"/>
                <a:gd name="connsiteX10" fmla="*/ 46482 w 74485"/>
                <a:gd name="connsiteY10" fmla="*/ 73533 h 87153"/>
                <a:gd name="connsiteX11" fmla="*/ 54578 w 74485"/>
                <a:gd name="connsiteY11" fmla="*/ 68104 h 87153"/>
                <a:gd name="connsiteX12" fmla="*/ 59912 w 74485"/>
                <a:gd name="connsiteY12" fmla="*/ 59627 h 87153"/>
                <a:gd name="connsiteX13" fmla="*/ 61913 w 74485"/>
                <a:gd name="connsiteY13" fmla="*/ 48768 h 87153"/>
                <a:gd name="connsiteX14" fmla="*/ 61913 w 74485"/>
                <a:gd name="connsiteY14" fmla="*/ 0 h 87153"/>
                <a:gd name="connsiteX15" fmla="*/ 74486 w 74485"/>
                <a:gd name="connsiteY15" fmla="*/ 0 h 87153"/>
                <a:gd name="connsiteX16" fmla="*/ 74486 w 74485"/>
                <a:gd name="connsiteY16" fmla="*/ 85344 h 87153"/>
                <a:gd name="connsiteX17" fmla="*/ 61913 w 74485"/>
                <a:gd name="connsiteY17" fmla="*/ 85344 h 87153"/>
                <a:gd name="connsiteX18" fmla="*/ 61913 w 74485"/>
                <a:gd name="connsiteY18" fmla="*/ 70485 h 87153"/>
                <a:gd name="connsiteX19" fmla="*/ 50673 w 74485"/>
                <a:gd name="connsiteY19" fmla="*/ 82296 h 87153"/>
                <a:gd name="connsiteX20" fmla="*/ 32671 w 74485"/>
                <a:gd name="connsiteY20" fmla="*/ 87154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4485" h="87153">
                  <a:moveTo>
                    <a:pt x="32671" y="87154"/>
                  </a:moveTo>
                  <a:cubicBezTo>
                    <a:pt x="27527" y="87154"/>
                    <a:pt x="22860" y="86297"/>
                    <a:pt x="18859" y="84677"/>
                  </a:cubicBezTo>
                  <a:cubicBezTo>
                    <a:pt x="14859" y="83058"/>
                    <a:pt x="11430" y="80677"/>
                    <a:pt x="8668" y="77629"/>
                  </a:cubicBezTo>
                  <a:cubicBezTo>
                    <a:pt x="5905" y="74581"/>
                    <a:pt x="3715" y="70961"/>
                    <a:pt x="2191" y="66866"/>
                  </a:cubicBezTo>
                  <a:cubicBezTo>
                    <a:pt x="667" y="62675"/>
                    <a:pt x="0" y="58103"/>
                    <a:pt x="0" y="52959"/>
                  </a:cubicBezTo>
                  <a:lnTo>
                    <a:pt x="0" y="0"/>
                  </a:lnTo>
                  <a:lnTo>
                    <a:pt x="12668" y="0"/>
                  </a:lnTo>
                  <a:lnTo>
                    <a:pt x="12668" y="49721"/>
                  </a:lnTo>
                  <a:cubicBezTo>
                    <a:pt x="12668" y="57626"/>
                    <a:pt x="14669" y="63913"/>
                    <a:pt x="18764" y="68485"/>
                  </a:cubicBezTo>
                  <a:cubicBezTo>
                    <a:pt x="22860" y="73057"/>
                    <a:pt x="28670" y="75438"/>
                    <a:pt x="36290" y="75438"/>
                  </a:cubicBezTo>
                  <a:cubicBezTo>
                    <a:pt x="39910" y="75438"/>
                    <a:pt x="43339" y="74771"/>
                    <a:pt x="46482" y="73533"/>
                  </a:cubicBezTo>
                  <a:cubicBezTo>
                    <a:pt x="49625" y="72295"/>
                    <a:pt x="52292" y="70485"/>
                    <a:pt x="54578" y="68104"/>
                  </a:cubicBezTo>
                  <a:cubicBezTo>
                    <a:pt x="56864" y="65723"/>
                    <a:pt x="58579" y="62960"/>
                    <a:pt x="59912" y="59627"/>
                  </a:cubicBezTo>
                  <a:cubicBezTo>
                    <a:pt x="61246" y="56293"/>
                    <a:pt x="61913" y="52673"/>
                    <a:pt x="61913" y="48768"/>
                  </a:cubicBezTo>
                  <a:lnTo>
                    <a:pt x="61913" y="0"/>
                  </a:lnTo>
                  <a:lnTo>
                    <a:pt x="74486" y="0"/>
                  </a:lnTo>
                  <a:lnTo>
                    <a:pt x="74486" y="85344"/>
                  </a:lnTo>
                  <a:lnTo>
                    <a:pt x="61913" y="85344"/>
                  </a:lnTo>
                  <a:lnTo>
                    <a:pt x="61913" y="70485"/>
                  </a:lnTo>
                  <a:cubicBezTo>
                    <a:pt x="59055" y="75152"/>
                    <a:pt x="55340" y="79058"/>
                    <a:pt x="50673" y="82296"/>
                  </a:cubicBezTo>
                  <a:cubicBezTo>
                    <a:pt x="46006" y="85535"/>
                    <a:pt x="40005" y="87154"/>
                    <a:pt x="32671" y="87154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7FC00DF-09CD-A8E6-D067-CB4999CB48EB}"/>
                </a:ext>
              </a:extLst>
            </p:cNvPr>
            <p:cNvSpPr/>
            <p:nvPr/>
          </p:nvSpPr>
          <p:spPr>
            <a:xfrm>
              <a:off x="1337849" y="4523549"/>
              <a:ext cx="86106" cy="122300"/>
            </a:xfrm>
            <a:custGeom>
              <a:avLst/>
              <a:gdLst>
                <a:gd name="connsiteX0" fmla="*/ 40767 w 86106"/>
                <a:gd name="connsiteY0" fmla="*/ 122206 h 122300"/>
                <a:gd name="connsiteX1" fmla="*/ 25718 w 86106"/>
                <a:gd name="connsiteY1" fmla="*/ 119253 h 122300"/>
                <a:gd name="connsiteX2" fmla="*/ 12668 w 86106"/>
                <a:gd name="connsiteY2" fmla="*/ 110585 h 122300"/>
                <a:gd name="connsiteX3" fmla="*/ 3429 w 86106"/>
                <a:gd name="connsiteY3" fmla="*/ 96679 h 122300"/>
                <a:gd name="connsiteX4" fmla="*/ 0 w 86106"/>
                <a:gd name="connsiteY4" fmla="*/ 77914 h 122300"/>
                <a:gd name="connsiteX5" fmla="*/ 0 w 86106"/>
                <a:gd name="connsiteY5" fmla="*/ 77629 h 122300"/>
                <a:gd name="connsiteX6" fmla="*/ 3429 w 86106"/>
                <a:gd name="connsiteY6" fmla="*/ 58960 h 122300"/>
                <a:gd name="connsiteX7" fmla="*/ 12668 w 86106"/>
                <a:gd name="connsiteY7" fmla="*/ 45053 h 122300"/>
                <a:gd name="connsiteX8" fmla="*/ 25718 w 86106"/>
                <a:gd name="connsiteY8" fmla="*/ 36290 h 122300"/>
                <a:gd name="connsiteX9" fmla="*/ 40767 w 86106"/>
                <a:gd name="connsiteY9" fmla="*/ 33242 h 122300"/>
                <a:gd name="connsiteX10" fmla="*/ 51625 w 86106"/>
                <a:gd name="connsiteY10" fmla="*/ 34766 h 122300"/>
                <a:gd name="connsiteX11" fmla="*/ 60579 w 86106"/>
                <a:gd name="connsiteY11" fmla="*/ 38767 h 122300"/>
                <a:gd name="connsiteX12" fmla="*/ 67723 w 86106"/>
                <a:gd name="connsiteY12" fmla="*/ 44577 h 122300"/>
                <a:gd name="connsiteX13" fmla="*/ 73438 w 86106"/>
                <a:gd name="connsiteY13" fmla="*/ 51530 h 122300"/>
                <a:gd name="connsiteX14" fmla="*/ 73438 w 86106"/>
                <a:gd name="connsiteY14" fmla="*/ 0 h 122300"/>
                <a:gd name="connsiteX15" fmla="*/ 86106 w 86106"/>
                <a:gd name="connsiteY15" fmla="*/ 0 h 122300"/>
                <a:gd name="connsiteX16" fmla="*/ 86106 w 86106"/>
                <a:gd name="connsiteY16" fmla="*/ 120491 h 122300"/>
                <a:gd name="connsiteX17" fmla="*/ 73438 w 86106"/>
                <a:gd name="connsiteY17" fmla="*/ 120491 h 122300"/>
                <a:gd name="connsiteX18" fmla="*/ 73438 w 86106"/>
                <a:gd name="connsiteY18" fmla="*/ 103346 h 122300"/>
                <a:gd name="connsiteX19" fmla="*/ 67532 w 86106"/>
                <a:gd name="connsiteY19" fmla="*/ 110585 h 122300"/>
                <a:gd name="connsiteX20" fmla="*/ 60389 w 86106"/>
                <a:gd name="connsiteY20" fmla="*/ 116681 h 122300"/>
                <a:gd name="connsiteX21" fmla="*/ 51530 w 86106"/>
                <a:gd name="connsiteY21" fmla="*/ 120777 h 122300"/>
                <a:gd name="connsiteX22" fmla="*/ 40767 w 86106"/>
                <a:gd name="connsiteY22" fmla="*/ 122301 h 122300"/>
                <a:gd name="connsiteX23" fmla="*/ 43053 w 86106"/>
                <a:gd name="connsiteY23" fmla="*/ 110776 h 122300"/>
                <a:gd name="connsiteX24" fmla="*/ 54483 w 86106"/>
                <a:gd name="connsiteY24" fmla="*/ 108395 h 122300"/>
                <a:gd name="connsiteX25" fmla="*/ 64389 w 86106"/>
                <a:gd name="connsiteY25" fmla="*/ 101632 h 122300"/>
                <a:gd name="connsiteX26" fmla="*/ 71342 w 86106"/>
                <a:gd name="connsiteY26" fmla="*/ 91250 h 122300"/>
                <a:gd name="connsiteX27" fmla="*/ 73914 w 86106"/>
                <a:gd name="connsiteY27" fmla="*/ 77819 h 122300"/>
                <a:gd name="connsiteX28" fmla="*/ 73914 w 86106"/>
                <a:gd name="connsiteY28" fmla="*/ 77533 h 122300"/>
                <a:gd name="connsiteX29" fmla="*/ 71342 w 86106"/>
                <a:gd name="connsiteY29" fmla="*/ 64103 h 122300"/>
                <a:gd name="connsiteX30" fmla="*/ 64389 w 86106"/>
                <a:gd name="connsiteY30" fmla="*/ 53816 h 122300"/>
                <a:gd name="connsiteX31" fmla="*/ 54483 w 86106"/>
                <a:gd name="connsiteY31" fmla="*/ 47149 h 122300"/>
                <a:gd name="connsiteX32" fmla="*/ 43053 w 86106"/>
                <a:gd name="connsiteY32" fmla="*/ 44767 h 122300"/>
                <a:gd name="connsiteX33" fmla="*/ 31337 w 86106"/>
                <a:gd name="connsiteY33" fmla="*/ 46958 h 122300"/>
                <a:gd name="connsiteX34" fmla="*/ 21812 w 86106"/>
                <a:gd name="connsiteY34" fmla="*/ 53435 h 122300"/>
                <a:gd name="connsiteX35" fmla="*/ 15335 w 86106"/>
                <a:gd name="connsiteY35" fmla="*/ 63722 h 122300"/>
                <a:gd name="connsiteX36" fmla="*/ 12954 w 86106"/>
                <a:gd name="connsiteY36" fmla="*/ 77629 h 122300"/>
                <a:gd name="connsiteX37" fmla="*/ 12954 w 86106"/>
                <a:gd name="connsiteY37" fmla="*/ 77914 h 122300"/>
                <a:gd name="connsiteX38" fmla="*/ 15335 w 86106"/>
                <a:gd name="connsiteY38" fmla="*/ 91630 h 122300"/>
                <a:gd name="connsiteX39" fmla="*/ 21812 w 86106"/>
                <a:gd name="connsiteY39" fmla="*/ 102013 h 122300"/>
                <a:gd name="connsiteX40" fmla="*/ 31337 w 86106"/>
                <a:gd name="connsiteY40" fmla="*/ 108585 h 122300"/>
                <a:gd name="connsiteX41" fmla="*/ 42863 w 86106"/>
                <a:gd name="connsiteY41" fmla="*/ 110871 h 1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6106" h="122300">
                  <a:moveTo>
                    <a:pt x="40767" y="122206"/>
                  </a:moveTo>
                  <a:cubicBezTo>
                    <a:pt x="35623" y="122206"/>
                    <a:pt x="30575" y="121253"/>
                    <a:pt x="25718" y="119253"/>
                  </a:cubicBezTo>
                  <a:cubicBezTo>
                    <a:pt x="20860" y="117253"/>
                    <a:pt x="16573" y="114395"/>
                    <a:pt x="12668" y="110585"/>
                  </a:cubicBezTo>
                  <a:cubicBezTo>
                    <a:pt x="8763" y="106775"/>
                    <a:pt x="5715" y="102203"/>
                    <a:pt x="3429" y="96679"/>
                  </a:cubicBezTo>
                  <a:cubicBezTo>
                    <a:pt x="1143" y="91250"/>
                    <a:pt x="0" y="84963"/>
                    <a:pt x="0" y="77914"/>
                  </a:cubicBezTo>
                  <a:lnTo>
                    <a:pt x="0" y="77629"/>
                  </a:lnTo>
                  <a:cubicBezTo>
                    <a:pt x="0" y="70675"/>
                    <a:pt x="1143" y="64484"/>
                    <a:pt x="3429" y="58960"/>
                  </a:cubicBezTo>
                  <a:cubicBezTo>
                    <a:pt x="5715" y="53435"/>
                    <a:pt x="8858" y="48768"/>
                    <a:pt x="12668" y="45053"/>
                  </a:cubicBezTo>
                  <a:cubicBezTo>
                    <a:pt x="16478" y="41243"/>
                    <a:pt x="20860" y="38291"/>
                    <a:pt x="25718" y="36290"/>
                  </a:cubicBezTo>
                  <a:cubicBezTo>
                    <a:pt x="30575" y="34290"/>
                    <a:pt x="35528" y="33242"/>
                    <a:pt x="40767" y="33242"/>
                  </a:cubicBezTo>
                  <a:cubicBezTo>
                    <a:pt x="44768" y="33242"/>
                    <a:pt x="48387" y="33718"/>
                    <a:pt x="51625" y="34766"/>
                  </a:cubicBezTo>
                  <a:cubicBezTo>
                    <a:pt x="54959" y="35719"/>
                    <a:pt x="57912" y="37052"/>
                    <a:pt x="60579" y="38767"/>
                  </a:cubicBezTo>
                  <a:cubicBezTo>
                    <a:pt x="63246" y="40386"/>
                    <a:pt x="65627" y="42386"/>
                    <a:pt x="67723" y="44577"/>
                  </a:cubicBezTo>
                  <a:cubicBezTo>
                    <a:pt x="69914" y="46768"/>
                    <a:pt x="71723" y="49054"/>
                    <a:pt x="73438" y="51530"/>
                  </a:cubicBezTo>
                  <a:lnTo>
                    <a:pt x="73438" y="0"/>
                  </a:lnTo>
                  <a:lnTo>
                    <a:pt x="86106" y="0"/>
                  </a:lnTo>
                  <a:lnTo>
                    <a:pt x="86106" y="120491"/>
                  </a:lnTo>
                  <a:lnTo>
                    <a:pt x="73438" y="120491"/>
                  </a:lnTo>
                  <a:lnTo>
                    <a:pt x="73438" y="103346"/>
                  </a:lnTo>
                  <a:cubicBezTo>
                    <a:pt x="71723" y="105918"/>
                    <a:pt x="69723" y="108299"/>
                    <a:pt x="67532" y="110585"/>
                  </a:cubicBezTo>
                  <a:cubicBezTo>
                    <a:pt x="65437" y="112871"/>
                    <a:pt x="62960" y="114967"/>
                    <a:pt x="60389" y="116681"/>
                  </a:cubicBezTo>
                  <a:cubicBezTo>
                    <a:pt x="57721" y="118396"/>
                    <a:pt x="54769" y="119825"/>
                    <a:pt x="51530" y="120777"/>
                  </a:cubicBezTo>
                  <a:cubicBezTo>
                    <a:pt x="48292" y="121729"/>
                    <a:pt x="44672" y="122301"/>
                    <a:pt x="40767" y="122301"/>
                  </a:cubicBezTo>
                  <a:close/>
                  <a:moveTo>
                    <a:pt x="43053" y="110776"/>
                  </a:moveTo>
                  <a:cubicBezTo>
                    <a:pt x="47053" y="110776"/>
                    <a:pt x="50864" y="110014"/>
                    <a:pt x="54483" y="108395"/>
                  </a:cubicBezTo>
                  <a:cubicBezTo>
                    <a:pt x="58198" y="106775"/>
                    <a:pt x="61436" y="104584"/>
                    <a:pt x="64389" y="101632"/>
                  </a:cubicBezTo>
                  <a:cubicBezTo>
                    <a:pt x="67342" y="98679"/>
                    <a:pt x="69628" y="95250"/>
                    <a:pt x="71342" y="91250"/>
                  </a:cubicBezTo>
                  <a:cubicBezTo>
                    <a:pt x="73057" y="87249"/>
                    <a:pt x="73914" y="82772"/>
                    <a:pt x="73914" y="77819"/>
                  </a:cubicBezTo>
                  <a:lnTo>
                    <a:pt x="73914" y="77533"/>
                  </a:lnTo>
                  <a:cubicBezTo>
                    <a:pt x="73914" y="72580"/>
                    <a:pt x="73057" y="68104"/>
                    <a:pt x="71342" y="64103"/>
                  </a:cubicBezTo>
                  <a:cubicBezTo>
                    <a:pt x="69628" y="60103"/>
                    <a:pt x="67342" y="56674"/>
                    <a:pt x="64389" y="53816"/>
                  </a:cubicBezTo>
                  <a:cubicBezTo>
                    <a:pt x="61436" y="50959"/>
                    <a:pt x="58198" y="48768"/>
                    <a:pt x="54483" y="47149"/>
                  </a:cubicBezTo>
                  <a:cubicBezTo>
                    <a:pt x="50768" y="45529"/>
                    <a:pt x="46958" y="44767"/>
                    <a:pt x="43053" y="44767"/>
                  </a:cubicBezTo>
                  <a:cubicBezTo>
                    <a:pt x="38862" y="44767"/>
                    <a:pt x="34957" y="45529"/>
                    <a:pt x="31337" y="46958"/>
                  </a:cubicBezTo>
                  <a:cubicBezTo>
                    <a:pt x="27718" y="48482"/>
                    <a:pt x="24574" y="50578"/>
                    <a:pt x="21812" y="53435"/>
                  </a:cubicBezTo>
                  <a:cubicBezTo>
                    <a:pt x="19145" y="56197"/>
                    <a:pt x="16954" y="59722"/>
                    <a:pt x="15335" y="63722"/>
                  </a:cubicBezTo>
                  <a:cubicBezTo>
                    <a:pt x="13716" y="67818"/>
                    <a:pt x="12954" y="72390"/>
                    <a:pt x="12954" y="77629"/>
                  </a:cubicBezTo>
                  <a:lnTo>
                    <a:pt x="12954" y="77914"/>
                  </a:lnTo>
                  <a:cubicBezTo>
                    <a:pt x="12954" y="82963"/>
                    <a:pt x="13716" y="87535"/>
                    <a:pt x="15335" y="91630"/>
                  </a:cubicBezTo>
                  <a:cubicBezTo>
                    <a:pt x="16954" y="95726"/>
                    <a:pt x="19145" y="99155"/>
                    <a:pt x="21812" y="102013"/>
                  </a:cubicBezTo>
                  <a:cubicBezTo>
                    <a:pt x="24574" y="104870"/>
                    <a:pt x="27718" y="107061"/>
                    <a:pt x="31337" y="108585"/>
                  </a:cubicBezTo>
                  <a:cubicBezTo>
                    <a:pt x="34957" y="110109"/>
                    <a:pt x="38862" y="110871"/>
                    <a:pt x="42863" y="110871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1F15E550-F50D-CDD9-CB14-F8E2AFFE69B5}"/>
                </a:ext>
              </a:extLst>
            </p:cNvPr>
            <p:cNvSpPr/>
            <p:nvPr/>
          </p:nvSpPr>
          <p:spPr>
            <a:xfrm>
              <a:off x="1447101" y="4556887"/>
              <a:ext cx="80676" cy="89154"/>
            </a:xfrm>
            <a:custGeom>
              <a:avLst/>
              <a:gdLst>
                <a:gd name="connsiteX0" fmla="*/ 12859 w 80676"/>
                <a:gd name="connsiteY0" fmla="*/ 49625 h 89154"/>
                <a:gd name="connsiteX1" fmla="*/ 16193 w 80676"/>
                <a:gd name="connsiteY1" fmla="*/ 61722 h 89154"/>
                <a:gd name="connsiteX2" fmla="*/ 22955 w 80676"/>
                <a:gd name="connsiteY2" fmla="*/ 70675 h 89154"/>
                <a:gd name="connsiteX3" fmla="*/ 32195 w 80676"/>
                <a:gd name="connsiteY3" fmla="*/ 76200 h 89154"/>
                <a:gd name="connsiteX4" fmla="*/ 42958 w 80676"/>
                <a:gd name="connsiteY4" fmla="*/ 78105 h 89154"/>
                <a:gd name="connsiteX5" fmla="*/ 58198 w 80676"/>
                <a:gd name="connsiteY5" fmla="*/ 74771 h 89154"/>
                <a:gd name="connsiteX6" fmla="*/ 69818 w 80676"/>
                <a:gd name="connsiteY6" fmla="*/ 66008 h 89154"/>
                <a:gd name="connsiteX7" fmla="*/ 77724 w 80676"/>
                <a:gd name="connsiteY7" fmla="*/ 73152 h 89154"/>
                <a:gd name="connsiteX8" fmla="*/ 63056 w 80676"/>
                <a:gd name="connsiteY8" fmla="*/ 84772 h 89154"/>
                <a:gd name="connsiteX9" fmla="*/ 42577 w 80676"/>
                <a:gd name="connsiteY9" fmla="*/ 89154 h 89154"/>
                <a:gd name="connsiteX10" fmla="*/ 26099 w 80676"/>
                <a:gd name="connsiteY10" fmla="*/ 85916 h 89154"/>
                <a:gd name="connsiteX11" fmla="*/ 12573 w 80676"/>
                <a:gd name="connsiteY11" fmla="*/ 76867 h 89154"/>
                <a:gd name="connsiteX12" fmla="*/ 3429 w 80676"/>
                <a:gd name="connsiteY12" fmla="*/ 62770 h 89154"/>
                <a:gd name="connsiteX13" fmla="*/ 0 w 80676"/>
                <a:gd name="connsiteY13" fmla="*/ 44577 h 89154"/>
                <a:gd name="connsiteX14" fmla="*/ 3048 w 80676"/>
                <a:gd name="connsiteY14" fmla="*/ 27146 h 89154"/>
                <a:gd name="connsiteX15" fmla="*/ 11525 w 80676"/>
                <a:gd name="connsiteY15" fmla="*/ 12954 h 89154"/>
                <a:gd name="connsiteX16" fmla="*/ 24479 w 80676"/>
                <a:gd name="connsiteY16" fmla="*/ 3429 h 89154"/>
                <a:gd name="connsiteX17" fmla="*/ 40862 w 80676"/>
                <a:gd name="connsiteY17" fmla="*/ 0 h 89154"/>
                <a:gd name="connsiteX18" fmla="*/ 57722 w 80676"/>
                <a:gd name="connsiteY18" fmla="*/ 3524 h 89154"/>
                <a:gd name="connsiteX19" fmla="*/ 70295 w 80676"/>
                <a:gd name="connsiteY19" fmla="*/ 13145 h 89154"/>
                <a:gd name="connsiteX20" fmla="*/ 78010 w 80676"/>
                <a:gd name="connsiteY20" fmla="*/ 27527 h 89154"/>
                <a:gd name="connsiteX21" fmla="*/ 80677 w 80676"/>
                <a:gd name="connsiteY21" fmla="*/ 45149 h 89154"/>
                <a:gd name="connsiteX22" fmla="*/ 80677 w 80676"/>
                <a:gd name="connsiteY22" fmla="*/ 47054 h 89154"/>
                <a:gd name="connsiteX23" fmla="*/ 80486 w 80676"/>
                <a:gd name="connsiteY23" fmla="*/ 49625 h 89154"/>
                <a:gd name="connsiteX24" fmla="*/ 12859 w 80676"/>
                <a:gd name="connsiteY24" fmla="*/ 49625 h 89154"/>
                <a:gd name="connsiteX25" fmla="*/ 67818 w 80676"/>
                <a:gd name="connsiteY25" fmla="*/ 39243 h 89154"/>
                <a:gd name="connsiteX26" fmla="*/ 65342 w 80676"/>
                <a:gd name="connsiteY26" fmla="*/ 28289 h 89154"/>
                <a:gd name="connsiteX27" fmla="*/ 60008 w 80676"/>
                <a:gd name="connsiteY27" fmla="*/ 19145 h 89154"/>
                <a:gd name="connsiteX28" fmla="*/ 51721 w 80676"/>
                <a:gd name="connsiteY28" fmla="*/ 12859 h 89154"/>
                <a:gd name="connsiteX29" fmla="*/ 40577 w 80676"/>
                <a:gd name="connsiteY29" fmla="*/ 10573 h 89154"/>
                <a:gd name="connsiteX30" fmla="*/ 30290 w 80676"/>
                <a:gd name="connsiteY30" fmla="*/ 12668 h 89154"/>
                <a:gd name="connsiteX31" fmla="*/ 21908 w 80676"/>
                <a:gd name="connsiteY31" fmla="*/ 18669 h 89154"/>
                <a:gd name="connsiteX32" fmla="*/ 15907 w 80676"/>
                <a:gd name="connsiteY32" fmla="*/ 27813 h 89154"/>
                <a:gd name="connsiteX33" fmla="*/ 12859 w 80676"/>
                <a:gd name="connsiteY33" fmla="*/ 39148 h 89154"/>
                <a:gd name="connsiteX34" fmla="*/ 67818 w 80676"/>
                <a:gd name="connsiteY34" fmla="*/ 39148 h 89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0676" h="89154">
                  <a:moveTo>
                    <a:pt x="12859" y="49625"/>
                  </a:moveTo>
                  <a:cubicBezTo>
                    <a:pt x="13335" y="54102"/>
                    <a:pt x="14383" y="58198"/>
                    <a:pt x="16193" y="61722"/>
                  </a:cubicBezTo>
                  <a:cubicBezTo>
                    <a:pt x="17907" y="65246"/>
                    <a:pt x="20193" y="68199"/>
                    <a:pt x="22955" y="70675"/>
                  </a:cubicBezTo>
                  <a:cubicBezTo>
                    <a:pt x="25718" y="73152"/>
                    <a:pt x="28766" y="74962"/>
                    <a:pt x="32195" y="76200"/>
                  </a:cubicBezTo>
                  <a:cubicBezTo>
                    <a:pt x="35624" y="77438"/>
                    <a:pt x="39148" y="78105"/>
                    <a:pt x="42958" y="78105"/>
                  </a:cubicBezTo>
                  <a:cubicBezTo>
                    <a:pt x="48863" y="78105"/>
                    <a:pt x="54007" y="76962"/>
                    <a:pt x="58198" y="74771"/>
                  </a:cubicBezTo>
                  <a:cubicBezTo>
                    <a:pt x="62389" y="72580"/>
                    <a:pt x="66294" y="69628"/>
                    <a:pt x="69818" y="66008"/>
                  </a:cubicBezTo>
                  <a:lnTo>
                    <a:pt x="77724" y="73152"/>
                  </a:lnTo>
                  <a:cubicBezTo>
                    <a:pt x="73438" y="78010"/>
                    <a:pt x="68580" y="81915"/>
                    <a:pt x="63056" y="84772"/>
                  </a:cubicBezTo>
                  <a:cubicBezTo>
                    <a:pt x="57531" y="87725"/>
                    <a:pt x="50768" y="89154"/>
                    <a:pt x="42577" y="89154"/>
                  </a:cubicBezTo>
                  <a:cubicBezTo>
                    <a:pt x="36767" y="89154"/>
                    <a:pt x="31242" y="88106"/>
                    <a:pt x="26099" y="85916"/>
                  </a:cubicBezTo>
                  <a:cubicBezTo>
                    <a:pt x="20955" y="83725"/>
                    <a:pt x="16383" y="80772"/>
                    <a:pt x="12573" y="76867"/>
                  </a:cubicBezTo>
                  <a:cubicBezTo>
                    <a:pt x="8763" y="72962"/>
                    <a:pt x="5715" y="68294"/>
                    <a:pt x="3429" y="62770"/>
                  </a:cubicBezTo>
                  <a:cubicBezTo>
                    <a:pt x="1143" y="57245"/>
                    <a:pt x="0" y="51245"/>
                    <a:pt x="0" y="44577"/>
                  </a:cubicBezTo>
                  <a:cubicBezTo>
                    <a:pt x="0" y="38386"/>
                    <a:pt x="1048" y="32575"/>
                    <a:pt x="3048" y="27146"/>
                  </a:cubicBezTo>
                  <a:cubicBezTo>
                    <a:pt x="5048" y="21717"/>
                    <a:pt x="7906" y="16954"/>
                    <a:pt x="11525" y="12954"/>
                  </a:cubicBezTo>
                  <a:cubicBezTo>
                    <a:pt x="15145" y="8954"/>
                    <a:pt x="19431" y="5810"/>
                    <a:pt x="24479" y="3429"/>
                  </a:cubicBezTo>
                  <a:cubicBezTo>
                    <a:pt x="29528" y="1143"/>
                    <a:pt x="34957" y="0"/>
                    <a:pt x="40862" y="0"/>
                  </a:cubicBezTo>
                  <a:cubicBezTo>
                    <a:pt x="47149" y="0"/>
                    <a:pt x="52769" y="1143"/>
                    <a:pt x="57722" y="3524"/>
                  </a:cubicBezTo>
                  <a:cubicBezTo>
                    <a:pt x="62675" y="5905"/>
                    <a:pt x="66866" y="9144"/>
                    <a:pt x="70295" y="13145"/>
                  </a:cubicBezTo>
                  <a:cubicBezTo>
                    <a:pt x="73724" y="17240"/>
                    <a:pt x="76295" y="22003"/>
                    <a:pt x="78010" y="27527"/>
                  </a:cubicBezTo>
                  <a:cubicBezTo>
                    <a:pt x="79724" y="33052"/>
                    <a:pt x="80677" y="38957"/>
                    <a:pt x="80677" y="45149"/>
                  </a:cubicBezTo>
                  <a:lnTo>
                    <a:pt x="80677" y="47054"/>
                  </a:lnTo>
                  <a:cubicBezTo>
                    <a:pt x="80677" y="47816"/>
                    <a:pt x="80677" y="48673"/>
                    <a:pt x="80486" y="49625"/>
                  </a:cubicBezTo>
                  <a:lnTo>
                    <a:pt x="12859" y="49625"/>
                  </a:lnTo>
                  <a:close/>
                  <a:moveTo>
                    <a:pt x="67818" y="39243"/>
                  </a:moveTo>
                  <a:cubicBezTo>
                    <a:pt x="67532" y="35433"/>
                    <a:pt x="66675" y="31813"/>
                    <a:pt x="65342" y="28289"/>
                  </a:cubicBezTo>
                  <a:cubicBezTo>
                    <a:pt x="64008" y="24860"/>
                    <a:pt x="62198" y="21812"/>
                    <a:pt x="60008" y="19145"/>
                  </a:cubicBezTo>
                  <a:cubicBezTo>
                    <a:pt x="57722" y="16478"/>
                    <a:pt x="54959" y="14478"/>
                    <a:pt x="51721" y="12859"/>
                  </a:cubicBezTo>
                  <a:cubicBezTo>
                    <a:pt x="48482" y="11335"/>
                    <a:pt x="44768" y="10573"/>
                    <a:pt x="40577" y="10573"/>
                  </a:cubicBezTo>
                  <a:cubicBezTo>
                    <a:pt x="36957" y="10573"/>
                    <a:pt x="33528" y="11335"/>
                    <a:pt x="30290" y="12668"/>
                  </a:cubicBezTo>
                  <a:cubicBezTo>
                    <a:pt x="27146" y="14097"/>
                    <a:pt x="24289" y="16097"/>
                    <a:pt x="21908" y="18669"/>
                  </a:cubicBezTo>
                  <a:cubicBezTo>
                    <a:pt x="19526" y="21241"/>
                    <a:pt x="17431" y="24289"/>
                    <a:pt x="15907" y="27813"/>
                  </a:cubicBezTo>
                  <a:cubicBezTo>
                    <a:pt x="14288" y="31337"/>
                    <a:pt x="13335" y="35052"/>
                    <a:pt x="12859" y="39148"/>
                  </a:cubicBezTo>
                  <a:lnTo>
                    <a:pt x="67818" y="39148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E03D157-997D-AD71-C79D-F236ABA34D8D}"/>
                </a:ext>
              </a:extLst>
            </p:cNvPr>
            <p:cNvSpPr/>
            <p:nvPr/>
          </p:nvSpPr>
          <p:spPr>
            <a:xfrm>
              <a:off x="1543018" y="4557267"/>
              <a:ext cx="65722" cy="88582"/>
            </a:xfrm>
            <a:custGeom>
              <a:avLst/>
              <a:gdLst>
                <a:gd name="connsiteX0" fmla="*/ 35338 w 65722"/>
                <a:gd name="connsiteY0" fmla="*/ 88297 h 88582"/>
                <a:gd name="connsiteX1" fmla="*/ 16669 w 65722"/>
                <a:gd name="connsiteY1" fmla="*/ 84963 h 88582"/>
                <a:gd name="connsiteX2" fmla="*/ 0 w 65722"/>
                <a:gd name="connsiteY2" fmla="*/ 75819 h 88582"/>
                <a:gd name="connsiteX3" fmla="*/ 6477 w 65722"/>
                <a:gd name="connsiteY3" fmla="*/ 66770 h 88582"/>
                <a:gd name="connsiteX4" fmla="*/ 20955 w 65722"/>
                <a:gd name="connsiteY4" fmla="*/ 74867 h 88582"/>
                <a:gd name="connsiteX5" fmla="*/ 36004 w 65722"/>
                <a:gd name="connsiteY5" fmla="*/ 77629 h 88582"/>
                <a:gd name="connsiteX6" fmla="*/ 48673 w 65722"/>
                <a:gd name="connsiteY6" fmla="*/ 74009 h 88582"/>
                <a:gd name="connsiteX7" fmla="*/ 53626 w 65722"/>
                <a:gd name="connsiteY7" fmla="*/ 64103 h 88582"/>
                <a:gd name="connsiteX8" fmla="*/ 53626 w 65722"/>
                <a:gd name="connsiteY8" fmla="*/ 63818 h 88582"/>
                <a:gd name="connsiteX9" fmla="*/ 51911 w 65722"/>
                <a:gd name="connsiteY9" fmla="*/ 58388 h 88582"/>
                <a:gd name="connsiteX10" fmla="*/ 47244 w 65722"/>
                <a:gd name="connsiteY10" fmla="*/ 54388 h 88582"/>
                <a:gd name="connsiteX11" fmla="*/ 40386 w 65722"/>
                <a:gd name="connsiteY11" fmla="*/ 51340 h 88582"/>
                <a:gd name="connsiteX12" fmla="*/ 32385 w 65722"/>
                <a:gd name="connsiteY12" fmla="*/ 48863 h 88582"/>
                <a:gd name="connsiteX13" fmla="*/ 22384 w 65722"/>
                <a:gd name="connsiteY13" fmla="*/ 45625 h 88582"/>
                <a:gd name="connsiteX14" fmla="*/ 13335 w 65722"/>
                <a:gd name="connsiteY14" fmla="*/ 41243 h 88582"/>
                <a:gd name="connsiteX15" fmla="*/ 6763 w 65722"/>
                <a:gd name="connsiteY15" fmla="*/ 34671 h 88582"/>
                <a:gd name="connsiteX16" fmla="*/ 4191 w 65722"/>
                <a:gd name="connsiteY16" fmla="*/ 24765 h 88582"/>
                <a:gd name="connsiteX17" fmla="*/ 4191 w 65722"/>
                <a:gd name="connsiteY17" fmla="*/ 24384 h 88582"/>
                <a:gd name="connsiteX18" fmla="*/ 6286 w 65722"/>
                <a:gd name="connsiteY18" fmla="*/ 14383 h 88582"/>
                <a:gd name="connsiteX19" fmla="*/ 12287 w 65722"/>
                <a:gd name="connsiteY19" fmla="*/ 6668 h 88582"/>
                <a:gd name="connsiteX20" fmla="*/ 21526 w 65722"/>
                <a:gd name="connsiteY20" fmla="*/ 1715 h 88582"/>
                <a:gd name="connsiteX21" fmla="*/ 33147 w 65722"/>
                <a:gd name="connsiteY21" fmla="*/ 0 h 88582"/>
                <a:gd name="connsiteX22" fmla="*/ 49149 w 65722"/>
                <a:gd name="connsiteY22" fmla="*/ 2572 h 88582"/>
                <a:gd name="connsiteX23" fmla="*/ 63817 w 65722"/>
                <a:gd name="connsiteY23" fmla="*/ 9430 h 88582"/>
                <a:gd name="connsiteX24" fmla="*/ 58007 w 65722"/>
                <a:gd name="connsiteY24" fmla="*/ 18955 h 88582"/>
                <a:gd name="connsiteX25" fmla="*/ 45529 w 65722"/>
                <a:gd name="connsiteY25" fmla="*/ 12954 h 88582"/>
                <a:gd name="connsiteX26" fmla="*/ 32766 w 65722"/>
                <a:gd name="connsiteY26" fmla="*/ 10763 h 88582"/>
                <a:gd name="connsiteX27" fmla="*/ 20765 w 65722"/>
                <a:gd name="connsiteY27" fmla="*/ 14288 h 88582"/>
                <a:gd name="connsiteX28" fmla="*/ 16288 w 65722"/>
                <a:gd name="connsiteY28" fmla="*/ 23146 h 88582"/>
                <a:gd name="connsiteX29" fmla="*/ 16288 w 65722"/>
                <a:gd name="connsiteY29" fmla="*/ 23527 h 88582"/>
                <a:gd name="connsiteX30" fmla="*/ 18098 w 65722"/>
                <a:gd name="connsiteY30" fmla="*/ 28766 h 88582"/>
                <a:gd name="connsiteX31" fmla="*/ 22955 w 65722"/>
                <a:gd name="connsiteY31" fmla="*/ 32671 h 88582"/>
                <a:gd name="connsiteX32" fmla="*/ 30004 w 65722"/>
                <a:gd name="connsiteY32" fmla="*/ 35624 h 88582"/>
                <a:gd name="connsiteX33" fmla="*/ 38290 w 65722"/>
                <a:gd name="connsiteY33" fmla="*/ 38291 h 88582"/>
                <a:gd name="connsiteX34" fmla="*/ 48101 w 65722"/>
                <a:gd name="connsiteY34" fmla="*/ 41624 h 88582"/>
                <a:gd name="connsiteX35" fmla="*/ 56959 w 65722"/>
                <a:gd name="connsiteY35" fmla="*/ 46292 h 88582"/>
                <a:gd name="connsiteX36" fmla="*/ 63341 w 65722"/>
                <a:gd name="connsiteY36" fmla="*/ 53054 h 88582"/>
                <a:gd name="connsiteX37" fmla="*/ 65723 w 65722"/>
                <a:gd name="connsiteY37" fmla="*/ 62770 h 88582"/>
                <a:gd name="connsiteX38" fmla="*/ 65723 w 65722"/>
                <a:gd name="connsiteY38" fmla="*/ 63056 h 88582"/>
                <a:gd name="connsiteX39" fmla="*/ 63341 w 65722"/>
                <a:gd name="connsiteY39" fmla="*/ 73819 h 88582"/>
                <a:gd name="connsiteX40" fmla="*/ 56864 w 65722"/>
                <a:gd name="connsiteY40" fmla="*/ 81820 h 88582"/>
                <a:gd name="connsiteX41" fmla="*/ 47339 w 65722"/>
                <a:gd name="connsiteY41" fmla="*/ 86868 h 88582"/>
                <a:gd name="connsiteX42" fmla="*/ 35338 w 65722"/>
                <a:gd name="connsiteY42" fmla="*/ 88583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5722" h="88582">
                  <a:moveTo>
                    <a:pt x="35338" y="88297"/>
                  </a:moveTo>
                  <a:cubicBezTo>
                    <a:pt x="29146" y="88297"/>
                    <a:pt x="22955" y="87154"/>
                    <a:pt x="16669" y="84963"/>
                  </a:cubicBezTo>
                  <a:cubicBezTo>
                    <a:pt x="10382" y="82677"/>
                    <a:pt x="4858" y="79629"/>
                    <a:pt x="0" y="75819"/>
                  </a:cubicBezTo>
                  <a:lnTo>
                    <a:pt x="6477" y="66770"/>
                  </a:lnTo>
                  <a:cubicBezTo>
                    <a:pt x="11144" y="70295"/>
                    <a:pt x="15907" y="72962"/>
                    <a:pt x="20955" y="74867"/>
                  </a:cubicBezTo>
                  <a:cubicBezTo>
                    <a:pt x="26003" y="76771"/>
                    <a:pt x="30956" y="77629"/>
                    <a:pt x="36004" y="77629"/>
                  </a:cubicBezTo>
                  <a:cubicBezTo>
                    <a:pt x="41053" y="77629"/>
                    <a:pt x="45434" y="76391"/>
                    <a:pt x="48673" y="74009"/>
                  </a:cubicBezTo>
                  <a:cubicBezTo>
                    <a:pt x="51911" y="71628"/>
                    <a:pt x="53626" y="68294"/>
                    <a:pt x="53626" y="64103"/>
                  </a:cubicBezTo>
                  <a:lnTo>
                    <a:pt x="53626" y="63818"/>
                  </a:lnTo>
                  <a:cubicBezTo>
                    <a:pt x="53626" y="61722"/>
                    <a:pt x="53054" y="59912"/>
                    <a:pt x="51911" y="58388"/>
                  </a:cubicBezTo>
                  <a:cubicBezTo>
                    <a:pt x="50768" y="56864"/>
                    <a:pt x="49149" y="55531"/>
                    <a:pt x="47244" y="54388"/>
                  </a:cubicBezTo>
                  <a:cubicBezTo>
                    <a:pt x="45244" y="53245"/>
                    <a:pt x="42958" y="52197"/>
                    <a:pt x="40386" y="51340"/>
                  </a:cubicBezTo>
                  <a:cubicBezTo>
                    <a:pt x="37814" y="50483"/>
                    <a:pt x="35147" y="49625"/>
                    <a:pt x="32385" y="48863"/>
                  </a:cubicBezTo>
                  <a:cubicBezTo>
                    <a:pt x="29051" y="47911"/>
                    <a:pt x="25717" y="46768"/>
                    <a:pt x="22384" y="45625"/>
                  </a:cubicBezTo>
                  <a:cubicBezTo>
                    <a:pt x="19050" y="44482"/>
                    <a:pt x="16002" y="43053"/>
                    <a:pt x="13335" y="41243"/>
                  </a:cubicBezTo>
                  <a:cubicBezTo>
                    <a:pt x="10668" y="39433"/>
                    <a:pt x="8477" y="37243"/>
                    <a:pt x="6763" y="34671"/>
                  </a:cubicBezTo>
                  <a:cubicBezTo>
                    <a:pt x="5048" y="32004"/>
                    <a:pt x="4191" y="28766"/>
                    <a:pt x="4191" y="24765"/>
                  </a:cubicBezTo>
                  <a:lnTo>
                    <a:pt x="4191" y="24384"/>
                  </a:lnTo>
                  <a:cubicBezTo>
                    <a:pt x="4191" y="20765"/>
                    <a:pt x="4953" y="17431"/>
                    <a:pt x="6286" y="14383"/>
                  </a:cubicBezTo>
                  <a:cubicBezTo>
                    <a:pt x="7715" y="11335"/>
                    <a:pt x="9715" y="8763"/>
                    <a:pt x="12287" y="6668"/>
                  </a:cubicBezTo>
                  <a:cubicBezTo>
                    <a:pt x="14859" y="4572"/>
                    <a:pt x="17907" y="2858"/>
                    <a:pt x="21526" y="1715"/>
                  </a:cubicBezTo>
                  <a:cubicBezTo>
                    <a:pt x="25146" y="571"/>
                    <a:pt x="28956" y="0"/>
                    <a:pt x="33147" y="0"/>
                  </a:cubicBezTo>
                  <a:cubicBezTo>
                    <a:pt x="38386" y="0"/>
                    <a:pt x="43815" y="857"/>
                    <a:pt x="49149" y="2572"/>
                  </a:cubicBezTo>
                  <a:cubicBezTo>
                    <a:pt x="54578" y="4286"/>
                    <a:pt x="59436" y="6572"/>
                    <a:pt x="63817" y="9430"/>
                  </a:cubicBezTo>
                  <a:lnTo>
                    <a:pt x="58007" y="18955"/>
                  </a:lnTo>
                  <a:cubicBezTo>
                    <a:pt x="54007" y="16383"/>
                    <a:pt x="49911" y="14383"/>
                    <a:pt x="45529" y="12954"/>
                  </a:cubicBezTo>
                  <a:cubicBezTo>
                    <a:pt x="41148" y="11430"/>
                    <a:pt x="36957" y="10763"/>
                    <a:pt x="32766" y="10763"/>
                  </a:cubicBezTo>
                  <a:cubicBezTo>
                    <a:pt x="27718" y="10763"/>
                    <a:pt x="23717" y="11906"/>
                    <a:pt x="20765" y="14288"/>
                  </a:cubicBezTo>
                  <a:cubicBezTo>
                    <a:pt x="17812" y="16669"/>
                    <a:pt x="16288" y="19621"/>
                    <a:pt x="16288" y="23146"/>
                  </a:cubicBezTo>
                  <a:lnTo>
                    <a:pt x="16288" y="23527"/>
                  </a:lnTo>
                  <a:cubicBezTo>
                    <a:pt x="16288" y="25527"/>
                    <a:pt x="16859" y="27242"/>
                    <a:pt x="18098" y="28766"/>
                  </a:cubicBezTo>
                  <a:cubicBezTo>
                    <a:pt x="19336" y="30290"/>
                    <a:pt x="20955" y="31528"/>
                    <a:pt x="22955" y="32671"/>
                  </a:cubicBezTo>
                  <a:cubicBezTo>
                    <a:pt x="24955" y="33814"/>
                    <a:pt x="27337" y="34766"/>
                    <a:pt x="30004" y="35624"/>
                  </a:cubicBezTo>
                  <a:cubicBezTo>
                    <a:pt x="32671" y="36481"/>
                    <a:pt x="35433" y="37338"/>
                    <a:pt x="38290" y="38291"/>
                  </a:cubicBezTo>
                  <a:cubicBezTo>
                    <a:pt x="41624" y="39243"/>
                    <a:pt x="44863" y="40386"/>
                    <a:pt x="48101" y="41624"/>
                  </a:cubicBezTo>
                  <a:cubicBezTo>
                    <a:pt x="51340" y="42863"/>
                    <a:pt x="54292" y="44387"/>
                    <a:pt x="56959" y="46292"/>
                  </a:cubicBezTo>
                  <a:cubicBezTo>
                    <a:pt x="59626" y="48196"/>
                    <a:pt x="61722" y="50387"/>
                    <a:pt x="63341" y="53054"/>
                  </a:cubicBezTo>
                  <a:cubicBezTo>
                    <a:pt x="64960" y="55721"/>
                    <a:pt x="65723" y="58960"/>
                    <a:pt x="65723" y="62770"/>
                  </a:cubicBezTo>
                  <a:lnTo>
                    <a:pt x="65723" y="63056"/>
                  </a:lnTo>
                  <a:cubicBezTo>
                    <a:pt x="65723" y="67151"/>
                    <a:pt x="64960" y="70771"/>
                    <a:pt x="63341" y="73819"/>
                  </a:cubicBezTo>
                  <a:cubicBezTo>
                    <a:pt x="61722" y="76962"/>
                    <a:pt x="59626" y="79629"/>
                    <a:pt x="56864" y="81820"/>
                  </a:cubicBezTo>
                  <a:cubicBezTo>
                    <a:pt x="54197" y="84011"/>
                    <a:pt x="50959" y="85725"/>
                    <a:pt x="47339" y="86868"/>
                  </a:cubicBezTo>
                  <a:cubicBezTo>
                    <a:pt x="43625" y="88011"/>
                    <a:pt x="39624" y="88583"/>
                    <a:pt x="35338" y="88583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2B2C8F5-6D5B-BF21-E0AE-64B6BA111745}"/>
                </a:ext>
              </a:extLst>
            </p:cNvPr>
            <p:cNvSpPr/>
            <p:nvPr/>
          </p:nvSpPr>
          <p:spPr>
            <a:xfrm>
              <a:off x="1676844" y="4556791"/>
              <a:ext cx="86106" cy="113633"/>
            </a:xfrm>
            <a:custGeom>
              <a:avLst/>
              <a:gdLst>
                <a:gd name="connsiteX0" fmla="*/ 73438 w 86106"/>
                <a:gd name="connsiteY0" fmla="*/ 70009 h 113633"/>
                <a:gd name="connsiteX1" fmla="*/ 67532 w 86106"/>
                <a:gd name="connsiteY1" fmla="*/ 77248 h 113633"/>
                <a:gd name="connsiteX2" fmla="*/ 60389 w 86106"/>
                <a:gd name="connsiteY2" fmla="*/ 83344 h 113633"/>
                <a:gd name="connsiteX3" fmla="*/ 51530 w 86106"/>
                <a:gd name="connsiteY3" fmla="*/ 87439 h 113633"/>
                <a:gd name="connsiteX4" fmla="*/ 40767 w 86106"/>
                <a:gd name="connsiteY4" fmla="*/ 88963 h 113633"/>
                <a:gd name="connsiteX5" fmla="*/ 25718 w 86106"/>
                <a:gd name="connsiteY5" fmla="*/ 86011 h 113633"/>
                <a:gd name="connsiteX6" fmla="*/ 12668 w 86106"/>
                <a:gd name="connsiteY6" fmla="*/ 77343 h 113633"/>
                <a:gd name="connsiteX7" fmla="*/ 3429 w 86106"/>
                <a:gd name="connsiteY7" fmla="*/ 63436 h 113633"/>
                <a:gd name="connsiteX8" fmla="*/ 0 w 86106"/>
                <a:gd name="connsiteY8" fmla="*/ 44672 h 113633"/>
                <a:gd name="connsiteX9" fmla="*/ 0 w 86106"/>
                <a:gd name="connsiteY9" fmla="*/ 44386 h 113633"/>
                <a:gd name="connsiteX10" fmla="*/ 3429 w 86106"/>
                <a:gd name="connsiteY10" fmla="*/ 25717 h 113633"/>
                <a:gd name="connsiteX11" fmla="*/ 12668 w 86106"/>
                <a:gd name="connsiteY11" fmla="*/ 11811 h 113633"/>
                <a:gd name="connsiteX12" fmla="*/ 25718 w 86106"/>
                <a:gd name="connsiteY12" fmla="*/ 3048 h 113633"/>
                <a:gd name="connsiteX13" fmla="*/ 40767 w 86106"/>
                <a:gd name="connsiteY13" fmla="*/ 0 h 113633"/>
                <a:gd name="connsiteX14" fmla="*/ 51626 w 86106"/>
                <a:gd name="connsiteY14" fmla="*/ 1524 h 113633"/>
                <a:gd name="connsiteX15" fmla="*/ 60579 w 86106"/>
                <a:gd name="connsiteY15" fmla="*/ 5524 h 113633"/>
                <a:gd name="connsiteX16" fmla="*/ 67723 w 86106"/>
                <a:gd name="connsiteY16" fmla="*/ 11335 h 113633"/>
                <a:gd name="connsiteX17" fmla="*/ 73438 w 86106"/>
                <a:gd name="connsiteY17" fmla="*/ 18288 h 113633"/>
                <a:gd name="connsiteX18" fmla="*/ 73438 w 86106"/>
                <a:gd name="connsiteY18" fmla="*/ 1905 h 113633"/>
                <a:gd name="connsiteX19" fmla="*/ 86106 w 86106"/>
                <a:gd name="connsiteY19" fmla="*/ 1905 h 113633"/>
                <a:gd name="connsiteX20" fmla="*/ 86106 w 86106"/>
                <a:gd name="connsiteY20" fmla="*/ 113633 h 113633"/>
                <a:gd name="connsiteX21" fmla="*/ 73438 w 86106"/>
                <a:gd name="connsiteY21" fmla="*/ 113633 h 113633"/>
                <a:gd name="connsiteX22" fmla="*/ 73438 w 86106"/>
                <a:gd name="connsiteY22" fmla="*/ 70104 h 113633"/>
                <a:gd name="connsiteX23" fmla="*/ 43053 w 86106"/>
                <a:gd name="connsiteY23" fmla="*/ 77629 h 113633"/>
                <a:gd name="connsiteX24" fmla="*/ 54483 w 86106"/>
                <a:gd name="connsiteY24" fmla="*/ 75247 h 113633"/>
                <a:gd name="connsiteX25" fmla="*/ 64389 w 86106"/>
                <a:gd name="connsiteY25" fmla="*/ 68485 h 113633"/>
                <a:gd name="connsiteX26" fmla="*/ 71342 w 86106"/>
                <a:gd name="connsiteY26" fmla="*/ 58102 h 113633"/>
                <a:gd name="connsiteX27" fmla="*/ 73914 w 86106"/>
                <a:gd name="connsiteY27" fmla="*/ 44672 h 113633"/>
                <a:gd name="connsiteX28" fmla="*/ 73914 w 86106"/>
                <a:gd name="connsiteY28" fmla="*/ 44386 h 113633"/>
                <a:gd name="connsiteX29" fmla="*/ 71342 w 86106"/>
                <a:gd name="connsiteY29" fmla="*/ 30956 h 113633"/>
                <a:gd name="connsiteX30" fmla="*/ 64389 w 86106"/>
                <a:gd name="connsiteY30" fmla="*/ 20669 h 113633"/>
                <a:gd name="connsiteX31" fmla="*/ 54483 w 86106"/>
                <a:gd name="connsiteY31" fmla="*/ 14002 h 113633"/>
                <a:gd name="connsiteX32" fmla="*/ 43053 w 86106"/>
                <a:gd name="connsiteY32" fmla="*/ 11620 h 113633"/>
                <a:gd name="connsiteX33" fmla="*/ 31337 w 86106"/>
                <a:gd name="connsiteY33" fmla="*/ 13811 h 113633"/>
                <a:gd name="connsiteX34" fmla="*/ 21812 w 86106"/>
                <a:gd name="connsiteY34" fmla="*/ 20288 h 113633"/>
                <a:gd name="connsiteX35" fmla="*/ 15335 w 86106"/>
                <a:gd name="connsiteY35" fmla="*/ 30575 h 113633"/>
                <a:gd name="connsiteX36" fmla="*/ 12954 w 86106"/>
                <a:gd name="connsiteY36" fmla="*/ 44482 h 113633"/>
                <a:gd name="connsiteX37" fmla="*/ 12954 w 86106"/>
                <a:gd name="connsiteY37" fmla="*/ 44767 h 113633"/>
                <a:gd name="connsiteX38" fmla="*/ 15335 w 86106"/>
                <a:gd name="connsiteY38" fmla="*/ 58483 h 113633"/>
                <a:gd name="connsiteX39" fmla="*/ 21812 w 86106"/>
                <a:gd name="connsiteY39" fmla="*/ 68866 h 113633"/>
                <a:gd name="connsiteX40" fmla="*/ 31337 w 86106"/>
                <a:gd name="connsiteY40" fmla="*/ 75438 h 113633"/>
                <a:gd name="connsiteX41" fmla="*/ 42863 w 86106"/>
                <a:gd name="connsiteY41" fmla="*/ 77724 h 11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6106" h="113633">
                  <a:moveTo>
                    <a:pt x="73438" y="70009"/>
                  </a:moveTo>
                  <a:cubicBezTo>
                    <a:pt x="71723" y="72580"/>
                    <a:pt x="69723" y="74962"/>
                    <a:pt x="67532" y="77248"/>
                  </a:cubicBezTo>
                  <a:cubicBezTo>
                    <a:pt x="65437" y="79534"/>
                    <a:pt x="62960" y="81629"/>
                    <a:pt x="60389" y="83344"/>
                  </a:cubicBezTo>
                  <a:cubicBezTo>
                    <a:pt x="57722" y="85058"/>
                    <a:pt x="54769" y="86487"/>
                    <a:pt x="51530" y="87439"/>
                  </a:cubicBezTo>
                  <a:cubicBezTo>
                    <a:pt x="48292" y="88392"/>
                    <a:pt x="44672" y="88963"/>
                    <a:pt x="40767" y="88963"/>
                  </a:cubicBezTo>
                  <a:cubicBezTo>
                    <a:pt x="35624" y="88963"/>
                    <a:pt x="30575" y="88011"/>
                    <a:pt x="25718" y="86011"/>
                  </a:cubicBezTo>
                  <a:cubicBezTo>
                    <a:pt x="20860" y="84010"/>
                    <a:pt x="16574" y="81153"/>
                    <a:pt x="12668" y="77343"/>
                  </a:cubicBezTo>
                  <a:cubicBezTo>
                    <a:pt x="8763" y="73533"/>
                    <a:pt x="5715" y="68961"/>
                    <a:pt x="3429" y="63436"/>
                  </a:cubicBezTo>
                  <a:cubicBezTo>
                    <a:pt x="1143" y="58007"/>
                    <a:pt x="0" y="51721"/>
                    <a:pt x="0" y="44672"/>
                  </a:cubicBezTo>
                  <a:lnTo>
                    <a:pt x="0" y="44386"/>
                  </a:lnTo>
                  <a:cubicBezTo>
                    <a:pt x="0" y="37433"/>
                    <a:pt x="1143" y="31242"/>
                    <a:pt x="3429" y="25717"/>
                  </a:cubicBezTo>
                  <a:cubicBezTo>
                    <a:pt x="5715" y="20193"/>
                    <a:pt x="8858" y="15526"/>
                    <a:pt x="12668" y="11811"/>
                  </a:cubicBezTo>
                  <a:cubicBezTo>
                    <a:pt x="16478" y="8001"/>
                    <a:pt x="20860" y="5048"/>
                    <a:pt x="25718" y="3048"/>
                  </a:cubicBezTo>
                  <a:cubicBezTo>
                    <a:pt x="30575" y="1048"/>
                    <a:pt x="35528" y="0"/>
                    <a:pt x="40767" y="0"/>
                  </a:cubicBezTo>
                  <a:cubicBezTo>
                    <a:pt x="44768" y="0"/>
                    <a:pt x="48387" y="476"/>
                    <a:pt x="51626" y="1524"/>
                  </a:cubicBezTo>
                  <a:cubicBezTo>
                    <a:pt x="54959" y="2476"/>
                    <a:pt x="57912" y="3810"/>
                    <a:pt x="60579" y="5524"/>
                  </a:cubicBezTo>
                  <a:cubicBezTo>
                    <a:pt x="63246" y="7144"/>
                    <a:pt x="65627" y="9144"/>
                    <a:pt x="67723" y="11335"/>
                  </a:cubicBezTo>
                  <a:cubicBezTo>
                    <a:pt x="69914" y="13525"/>
                    <a:pt x="71723" y="15811"/>
                    <a:pt x="73438" y="18288"/>
                  </a:cubicBezTo>
                  <a:lnTo>
                    <a:pt x="73438" y="1905"/>
                  </a:lnTo>
                  <a:lnTo>
                    <a:pt x="86106" y="1905"/>
                  </a:lnTo>
                  <a:lnTo>
                    <a:pt x="86106" y="113633"/>
                  </a:lnTo>
                  <a:lnTo>
                    <a:pt x="73438" y="113633"/>
                  </a:lnTo>
                  <a:lnTo>
                    <a:pt x="73438" y="70104"/>
                  </a:lnTo>
                  <a:close/>
                  <a:moveTo>
                    <a:pt x="43053" y="77629"/>
                  </a:moveTo>
                  <a:cubicBezTo>
                    <a:pt x="47054" y="77629"/>
                    <a:pt x="50864" y="76867"/>
                    <a:pt x="54483" y="75247"/>
                  </a:cubicBezTo>
                  <a:cubicBezTo>
                    <a:pt x="58198" y="73628"/>
                    <a:pt x="61436" y="71438"/>
                    <a:pt x="64389" y="68485"/>
                  </a:cubicBezTo>
                  <a:cubicBezTo>
                    <a:pt x="67342" y="65532"/>
                    <a:pt x="69628" y="62103"/>
                    <a:pt x="71342" y="58102"/>
                  </a:cubicBezTo>
                  <a:cubicBezTo>
                    <a:pt x="73057" y="54102"/>
                    <a:pt x="73914" y="49625"/>
                    <a:pt x="73914" y="44672"/>
                  </a:cubicBezTo>
                  <a:lnTo>
                    <a:pt x="73914" y="44386"/>
                  </a:lnTo>
                  <a:cubicBezTo>
                    <a:pt x="73914" y="39433"/>
                    <a:pt x="73057" y="34957"/>
                    <a:pt x="71342" y="30956"/>
                  </a:cubicBezTo>
                  <a:cubicBezTo>
                    <a:pt x="69628" y="26956"/>
                    <a:pt x="67342" y="23527"/>
                    <a:pt x="64389" y="20669"/>
                  </a:cubicBezTo>
                  <a:cubicBezTo>
                    <a:pt x="61436" y="17812"/>
                    <a:pt x="58198" y="15621"/>
                    <a:pt x="54483" y="14002"/>
                  </a:cubicBezTo>
                  <a:cubicBezTo>
                    <a:pt x="50768" y="12382"/>
                    <a:pt x="46958" y="11620"/>
                    <a:pt x="43053" y="11620"/>
                  </a:cubicBezTo>
                  <a:cubicBezTo>
                    <a:pt x="38862" y="11620"/>
                    <a:pt x="34957" y="12382"/>
                    <a:pt x="31337" y="13811"/>
                  </a:cubicBezTo>
                  <a:cubicBezTo>
                    <a:pt x="27718" y="15335"/>
                    <a:pt x="24575" y="17431"/>
                    <a:pt x="21812" y="20288"/>
                  </a:cubicBezTo>
                  <a:cubicBezTo>
                    <a:pt x="19145" y="23050"/>
                    <a:pt x="16955" y="26575"/>
                    <a:pt x="15335" y="30575"/>
                  </a:cubicBezTo>
                  <a:cubicBezTo>
                    <a:pt x="13716" y="34671"/>
                    <a:pt x="12954" y="39243"/>
                    <a:pt x="12954" y="44482"/>
                  </a:cubicBezTo>
                  <a:lnTo>
                    <a:pt x="12954" y="44767"/>
                  </a:lnTo>
                  <a:cubicBezTo>
                    <a:pt x="12954" y="49816"/>
                    <a:pt x="13716" y="54388"/>
                    <a:pt x="15335" y="58483"/>
                  </a:cubicBezTo>
                  <a:cubicBezTo>
                    <a:pt x="16955" y="62579"/>
                    <a:pt x="19145" y="66008"/>
                    <a:pt x="21812" y="68866"/>
                  </a:cubicBezTo>
                  <a:cubicBezTo>
                    <a:pt x="24575" y="71723"/>
                    <a:pt x="27718" y="73914"/>
                    <a:pt x="31337" y="75438"/>
                  </a:cubicBezTo>
                  <a:cubicBezTo>
                    <a:pt x="34957" y="76962"/>
                    <a:pt x="38862" y="77724"/>
                    <a:pt x="42863" y="77724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80A21F73-DFE9-1574-3015-2F9E02E171DB}"/>
                </a:ext>
              </a:extLst>
            </p:cNvPr>
            <p:cNvSpPr/>
            <p:nvPr/>
          </p:nvSpPr>
          <p:spPr>
            <a:xfrm>
              <a:off x="1790096" y="4558601"/>
              <a:ext cx="74485" cy="87153"/>
            </a:xfrm>
            <a:custGeom>
              <a:avLst/>
              <a:gdLst>
                <a:gd name="connsiteX0" fmla="*/ 32671 w 74485"/>
                <a:gd name="connsiteY0" fmla="*/ 87154 h 87153"/>
                <a:gd name="connsiteX1" fmla="*/ 18860 w 74485"/>
                <a:gd name="connsiteY1" fmla="*/ 84677 h 87153"/>
                <a:gd name="connsiteX2" fmla="*/ 8668 w 74485"/>
                <a:gd name="connsiteY2" fmla="*/ 77629 h 87153"/>
                <a:gd name="connsiteX3" fmla="*/ 2191 w 74485"/>
                <a:gd name="connsiteY3" fmla="*/ 66866 h 87153"/>
                <a:gd name="connsiteX4" fmla="*/ 0 w 74485"/>
                <a:gd name="connsiteY4" fmla="*/ 52959 h 87153"/>
                <a:gd name="connsiteX5" fmla="*/ 0 w 74485"/>
                <a:gd name="connsiteY5" fmla="*/ 0 h 87153"/>
                <a:gd name="connsiteX6" fmla="*/ 12668 w 74485"/>
                <a:gd name="connsiteY6" fmla="*/ 0 h 87153"/>
                <a:gd name="connsiteX7" fmla="*/ 12668 w 74485"/>
                <a:gd name="connsiteY7" fmla="*/ 49721 h 87153"/>
                <a:gd name="connsiteX8" fmla="*/ 18764 w 74485"/>
                <a:gd name="connsiteY8" fmla="*/ 68485 h 87153"/>
                <a:gd name="connsiteX9" fmla="*/ 36290 w 74485"/>
                <a:gd name="connsiteY9" fmla="*/ 75438 h 87153"/>
                <a:gd name="connsiteX10" fmla="*/ 46482 w 74485"/>
                <a:gd name="connsiteY10" fmla="*/ 73533 h 87153"/>
                <a:gd name="connsiteX11" fmla="*/ 54578 w 74485"/>
                <a:gd name="connsiteY11" fmla="*/ 68104 h 87153"/>
                <a:gd name="connsiteX12" fmla="*/ 59912 w 74485"/>
                <a:gd name="connsiteY12" fmla="*/ 59627 h 87153"/>
                <a:gd name="connsiteX13" fmla="*/ 61913 w 74485"/>
                <a:gd name="connsiteY13" fmla="*/ 48768 h 87153"/>
                <a:gd name="connsiteX14" fmla="*/ 61913 w 74485"/>
                <a:gd name="connsiteY14" fmla="*/ 0 h 87153"/>
                <a:gd name="connsiteX15" fmla="*/ 74486 w 74485"/>
                <a:gd name="connsiteY15" fmla="*/ 0 h 87153"/>
                <a:gd name="connsiteX16" fmla="*/ 74486 w 74485"/>
                <a:gd name="connsiteY16" fmla="*/ 85344 h 87153"/>
                <a:gd name="connsiteX17" fmla="*/ 61913 w 74485"/>
                <a:gd name="connsiteY17" fmla="*/ 85344 h 87153"/>
                <a:gd name="connsiteX18" fmla="*/ 61913 w 74485"/>
                <a:gd name="connsiteY18" fmla="*/ 70485 h 87153"/>
                <a:gd name="connsiteX19" fmla="*/ 50673 w 74485"/>
                <a:gd name="connsiteY19" fmla="*/ 82296 h 87153"/>
                <a:gd name="connsiteX20" fmla="*/ 32671 w 74485"/>
                <a:gd name="connsiteY20" fmla="*/ 87154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4485" h="87153">
                  <a:moveTo>
                    <a:pt x="32671" y="87154"/>
                  </a:moveTo>
                  <a:cubicBezTo>
                    <a:pt x="27527" y="87154"/>
                    <a:pt x="22860" y="86297"/>
                    <a:pt x="18860" y="84677"/>
                  </a:cubicBezTo>
                  <a:cubicBezTo>
                    <a:pt x="14859" y="83058"/>
                    <a:pt x="11430" y="80677"/>
                    <a:pt x="8668" y="77629"/>
                  </a:cubicBezTo>
                  <a:cubicBezTo>
                    <a:pt x="5906" y="74581"/>
                    <a:pt x="3715" y="70961"/>
                    <a:pt x="2191" y="66866"/>
                  </a:cubicBezTo>
                  <a:cubicBezTo>
                    <a:pt x="667" y="62675"/>
                    <a:pt x="0" y="58103"/>
                    <a:pt x="0" y="52959"/>
                  </a:cubicBezTo>
                  <a:lnTo>
                    <a:pt x="0" y="0"/>
                  </a:lnTo>
                  <a:lnTo>
                    <a:pt x="12668" y="0"/>
                  </a:lnTo>
                  <a:lnTo>
                    <a:pt x="12668" y="49721"/>
                  </a:lnTo>
                  <a:cubicBezTo>
                    <a:pt x="12668" y="57626"/>
                    <a:pt x="14669" y="63913"/>
                    <a:pt x="18764" y="68485"/>
                  </a:cubicBezTo>
                  <a:cubicBezTo>
                    <a:pt x="22860" y="73057"/>
                    <a:pt x="28670" y="75438"/>
                    <a:pt x="36290" y="75438"/>
                  </a:cubicBezTo>
                  <a:cubicBezTo>
                    <a:pt x="39910" y="75438"/>
                    <a:pt x="43339" y="74771"/>
                    <a:pt x="46482" y="73533"/>
                  </a:cubicBezTo>
                  <a:cubicBezTo>
                    <a:pt x="49625" y="72295"/>
                    <a:pt x="52292" y="70485"/>
                    <a:pt x="54578" y="68104"/>
                  </a:cubicBezTo>
                  <a:cubicBezTo>
                    <a:pt x="56864" y="65723"/>
                    <a:pt x="58579" y="62960"/>
                    <a:pt x="59912" y="59627"/>
                  </a:cubicBezTo>
                  <a:cubicBezTo>
                    <a:pt x="61246" y="56293"/>
                    <a:pt x="61913" y="52673"/>
                    <a:pt x="61913" y="48768"/>
                  </a:cubicBezTo>
                  <a:lnTo>
                    <a:pt x="61913" y="0"/>
                  </a:lnTo>
                  <a:lnTo>
                    <a:pt x="74486" y="0"/>
                  </a:lnTo>
                  <a:lnTo>
                    <a:pt x="74486" y="85344"/>
                  </a:lnTo>
                  <a:lnTo>
                    <a:pt x="61913" y="85344"/>
                  </a:lnTo>
                  <a:lnTo>
                    <a:pt x="61913" y="70485"/>
                  </a:lnTo>
                  <a:cubicBezTo>
                    <a:pt x="59055" y="75152"/>
                    <a:pt x="55340" y="79058"/>
                    <a:pt x="50673" y="82296"/>
                  </a:cubicBezTo>
                  <a:cubicBezTo>
                    <a:pt x="46006" y="85535"/>
                    <a:pt x="40100" y="87154"/>
                    <a:pt x="32671" y="87154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0BF5A03-B12E-52EA-0CF9-131EFCFF3AC2}"/>
                </a:ext>
              </a:extLst>
            </p:cNvPr>
            <p:cNvSpPr/>
            <p:nvPr/>
          </p:nvSpPr>
          <p:spPr>
            <a:xfrm>
              <a:off x="1887727" y="4556887"/>
              <a:ext cx="80676" cy="89154"/>
            </a:xfrm>
            <a:custGeom>
              <a:avLst/>
              <a:gdLst>
                <a:gd name="connsiteX0" fmla="*/ 12859 w 80676"/>
                <a:gd name="connsiteY0" fmla="*/ 49625 h 89154"/>
                <a:gd name="connsiteX1" fmla="*/ 16193 w 80676"/>
                <a:gd name="connsiteY1" fmla="*/ 61722 h 89154"/>
                <a:gd name="connsiteX2" fmla="*/ 22955 w 80676"/>
                <a:gd name="connsiteY2" fmla="*/ 70675 h 89154"/>
                <a:gd name="connsiteX3" fmla="*/ 32195 w 80676"/>
                <a:gd name="connsiteY3" fmla="*/ 76200 h 89154"/>
                <a:gd name="connsiteX4" fmla="*/ 42958 w 80676"/>
                <a:gd name="connsiteY4" fmla="*/ 78105 h 89154"/>
                <a:gd name="connsiteX5" fmla="*/ 58198 w 80676"/>
                <a:gd name="connsiteY5" fmla="*/ 74771 h 89154"/>
                <a:gd name="connsiteX6" fmla="*/ 69818 w 80676"/>
                <a:gd name="connsiteY6" fmla="*/ 66008 h 89154"/>
                <a:gd name="connsiteX7" fmla="*/ 77724 w 80676"/>
                <a:gd name="connsiteY7" fmla="*/ 73152 h 89154"/>
                <a:gd name="connsiteX8" fmla="*/ 63056 w 80676"/>
                <a:gd name="connsiteY8" fmla="*/ 84772 h 89154"/>
                <a:gd name="connsiteX9" fmla="*/ 42577 w 80676"/>
                <a:gd name="connsiteY9" fmla="*/ 89154 h 89154"/>
                <a:gd name="connsiteX10" fmla="*/ 26099 w 80676"/>
                <a:gd name="connsiteY10" fmla="*/ 85916 h 89154"/>
                <a:gd name="connsiteX11" fmla="*/ 12573 w 80676"/>
                <a:gd name="connsiteY11" fmla="*/ 76867 h 89154"/>
                <a:gd name="connsiteX12" fmla="*/ 3429 w 80676"/>
                <a:gd name="connsiteY12" fmla="*/ 62770 h 89154"/>
                <a:gd name="connsiteX13" fmla="*/ 0 w 80676"/>
                <a:gd name="connsiteY13" fmla="*/ 44577 h 89154"/>
                <a:gd name="connsiteX14" fmla="*/ 3048 w 80676"/>
                <a:gd name="connsiteY14" fmla="*/ 27146 h 89154"/>
                <a:gd name="connsiteX15" fmla="*/ 11525 w 80676"/>
                <a:gd name="connsiteY15" fmla="*/ 12954 h 89154"/>
                <a:gd name="connsiteX16" fmla="*/ 24479 w 80676"/>
                <a:gd name="connsiteY16" fmla="*/ 3429 h 89154"/>
                <a:gd name="connsiteX17" fmla="*/ 40862 w 80676"/>
                <a:gd name="connsiteY17" fmla="*/ 0 h 89154"/>
                <a:gd name="connsiteX18" fmla="*/ 57722 w 80676"/>
                <a:gd name="connsiteY18" fmla="*/ 3524 h 89154"/>
                <a:gd name="connsiteX19" fmla="*/ 70295 w 80676"/>
                <a:gd name="connsiteY19" fmla="*/ 13145 h 89154"/>
                <a:gd name="connsiteX20" fmla="*/ 78010 w 80676"/>
                <a:gd name="connsiteY20" fmla="*/ 27527 h 89154"/>
                <a:gd name="connsiteX21" fmla="*/ 80677 w 80676"/>
                <a:gd name="connsiteY21" fmla="*/ 45149 h 89154"/>
                <a:gd name="connsiteX22" fmla="*/ 80677 w 80676"/>
                <a:gd name="connsiteY22" fmla="*/ 47054 h 89154"/>
                <a:gd name="connsiteX23" fmla="*/ 80486 w 80676"/>
                <a:gd name="connsiteY23" fmla="*/ 49625 h 89154"/>
                <a:gd name="connsiteX24" fmla="*/ 12859 w 80676"/>
                <a:gd name="connsiteY24" fmla="*/ 49625 h 89154"/>
                <a:gd name="connsiteX25" fmla="*/ 67818 w 80676"/>
                <a:gd name="connsiteY25" fmla="*/ 39243 h 89154"/>
                <a:gd name="connsiteX26" fmla="*/ 65342 w 80676"/>
                <a:gd name="connsiteY26" fmla="*/ 28289 h 89154"/>
                <a:gd name="connsiteX27" fmla="*/ 60008 w 80676"/>
                <a:gd name="connsiteY27" fmla="*/ 19145 h 89154"/>
                <a:gd name="connsiteX28" fmla="*/ 51721 w 80676"/>
                <a:gd name="connsiteY28" fmla="*/ 12859 h 89154"/>
                <a:gd name="connsiteX29" fmla="*/ 40577 w 80676"/>
                <a:gd name="connsiteY29" fmla="*/ 10573 h 89154"/>
                <a:gd name="connsiteX30" fmla="*/ 30290 w 80676"/>
                <a:gd name="connsiteY30" fmla="*/ 12668 h 89154"/>
                <a:gd name="connsiteX31" fmla="*/ 21908 w 80676"/>
                <a:gd name="connsiteY31" fmla="*/ 18669 h 89154"/>
                <a:gd name="connsiteX32" fmla="*/ 15907 w 80676"/>
                <a:gd name="connsiteY32" fmla="*/ 27813 h 89154"/>
                <a:gd name="connsiteX33" fmla="*/ 12859 w 80676"/>
                <a:gd name="connsiteY33" fmla="*/ 39148 h 89154"/>
                <a:gd name="connsiteX34" fmla="*/ 67818 w 80676"/>
                <a:gd name="connsiteY34" fmla="*/ 39148 h 89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0676" h="89154">
                  <a:moveTo>
                    <a:pt x="12859" y="49625"/>
                  </a:moveTo>
                  <a:cubicBezTo>
                    <a:pt x="13335" y="54102"/>
                    <a:pt x="14383" y="58198"/>
                    <a:pt x="16193" y="61722"/>
                  </a:cubicBezTo>
                  <a:cubicBezTo>
                    <a:pt x="17907" y="65246"/>
                    <a:pt x="20193" y="68199"/>
                    <a:pt x="22955" y="70675"/>
                  </a:cubicBezTo>
                  <a:cubicBezTo>
                    <a:pt x="25718" y="73152"/>
                    <a:pt x="28766" y="74962"/>
                    <a:pt x="32195" y="76200"/>
                  </a:cubicBezTo>
                  <a:cubicBezTo>
                    <a:pt x="35624" y="77438"/>
                    <a:pt x="39148" y="78105"/>
                    <a:pt x="42958" y="78105"/>
                  </a:cubicBezTo>
                  <a:cubicBezTo>
                    <a:pt x="48863" y="78105"/>
                    <a:pt x="54007" y="76962"/>
                    <a:pt x="58198" y="74771"/>
                  </a:cubicBezTo>
                  <a:cubicBezTo>
                    <a:pt x="62389" y="72580"/>
                    <a:pt x="66294" y="69628"/>
                    <a:pt x="69818" y="66008"/>
                  </a:cubicBezTo>
                  <a:lnTo>
                    <a:pt x="77724" y="73152"/>
                  </a:lnTo>
                  <a:cubicBezTo>
                    <a:pt x="73438" y="78010"/>
                    <a:pt x="68580" y="81915"/>
                    <a:pt x="63056" y="84772"/>
                  </a:cubicBezTo>
                  <a:cubicBezTo>
                    <a:pt x="57531" y="87725"/>
                    <a:pt x="50768" y="89154"/>
                    <a:pt x="42577" y="89154"/>
                  </a:cubicBezTo>
                  <a:cubicBezTo>
                    <a:pt x="36767" y="89154"/>
                    <a:pt x="31242" y="88106"/>
                    <a:pt x="26099" y="85916"/>
                  </a:cubicBezTo>
                  <a:cubicBezTo>
                    <a:pt x="20955" y="83725"/>
                    <a:pt x="16383" y="80772"/>
                    <a:pt x="12573" y="76867"/>
                  </a:cubicBezTo>
                  <a:cubicBezTo>
                    <a:pt x="8763" y="72962"/>
                    <a:pt x="5715" y="68294"/>
                    <a:pt x="3429" y="62770"/>
                  </a:cubicBezTo>
                  <a:cubicBezTo>
                    <a:pt x="1143" y="57245"/>
                    <a:pt x="0" y="51245"/>
                    <a:pt x="0" y="44577"/>
                  </a:cubicBezTo>
                  <a:cubicBezTo>
                    <a:pt x="0" y="38386"/>
                    <a:pt x="1048" y="32575"/>
                    <a:pt x="3048" y="27146"/>
                  </a:cubicBezTo>
                  <a:cubicBezTo>
                    <a:pt x="5048" y="21717"/>
                    <a:pt x="7906" y="16954"/>
                    <a:pt x="11525" y="12954"/>
                  </a:cubicBezTo>
                  <a:cubicBezTo>
                    <a:pt x="15145" y="8954"/>
                    <a:pt x="19431" y="5810"/>
                    <a:pt x="24479" y="3429"/>
                  </a:cubicBezTo>
                  <a:cubicBezTo>
                    <a:pt x="29528" y="1143"/>
                    <a:pt x="34957" y="0"/>
                    <a:pt x="40862" y="0"/>
                  </a:cubicBezTo>
                  <a:cubicBezTo>
                    <a:pt x="47149" y="0"/>
                    <a:pt x="52769" y="1143"/>
                    <a:pt x="57722" y="3524"/>
                  </a:cubicBezTo>
                  <a:cubicBezTo>
                    <a:pt x="62675" y="5905"/>
                    <a:pt x="66866" y="9144"/>
                    <a:pt x="70295" y="13145"/>
                  </a:cubicBezTo>
                  <a:cubicBezTo>
                    <a:pt x="73724" y="17240"/>
                    <a:pt x="76295" y="22003"/>
                    <a:pt x="78010" y="27527"/>
                  </a:cubicBezTo>
                  <a:cubicBezTo>
                    <a:pt x="79724" y="33052"/>
                    <a:pt x="80677" y="38957"/>
                    <a:pt x="80677" y="45149"/>
                  </a:cubicBezTo>
                  <a:lnTo>
                    <a:pt x="80677" y="47054"/>
                  </a:lnTo>
                  <a:cubicBezTo>
                    <a:pt x="80677" y="47816"/>
                    <a:pt x="80677" y="48673"/>
                    <a:pt x="80486" y="49625"/>
                  </a:cubicBezTo>
                  <a:lnTo>
                    <a:pt x="12859" y="49625"/>
                  </a:lnTo>
                  <a:close/>
                  <a:moveTo>
                    <a:pt x="67818" y="39243"/>
                  </a:moveTo>
                  <a:cubicBezTo>
                    <a:pt x="67532" y="35433"/>
                    <a:pt x="66675" y="31813"/>
                    <a:pt x="65342" y="28289"/>
                  </a:cubicBezTo>
                  <a:cubicBezTo>
                    <a:pt x="64008" y="24860"/>
                    <a:pt x="62198" y="21812"/>
                    <a:pt x="60008" y="19145"/>
                  </a:cubicBezTo>
                  <a:cubicBezTo>
                    <a:pt x="57722" y="16478"/>
                    <a:pt x="54959" y="14478"/>
                    <a:pt x="51721" y="12859"/>
                  </a:cubicBezTo>
                  <a:cubicBezTo>
                    <a:pt x="48482" y="11335"/>
                    <a:pt x="44768" y="10573"/>
                    <a:pt x="40577" y="10573"/>
                  </a:cubicBezTo>
                  <a:cubicBezTo>
                    <a:pt x="36957" y="10573"/>
                    <a:pt x="33528" y="11335"/>
                    <a:pt x="30290" y="12668"/>
                  </a:cubicBezTo>
                  <a:cubicBezTo>
                    <a:pt x="27146" y="14097"/>
                    <a:pt x="24289" y="16097"/>
                    <a:pt x="21908" y="18669"/>
                  </a:cubicBezTo>
                  <a:cubicBezTo>
                    <a:pt x="19526" y="21241"/>
                    <a:pt x="17431" y="24289"/>
                    <a:pt x="15907" y="27813"/>
                  </a:cubicBezTo>
                  <a:cubicBezTo>
                    <a:pt x="14288" y="31337"/>
                    <a:pt x="13335" y="35052"/>
                    <a:pt x="12859" y="39148"/>
                  </a:cubicBezTo>
                  <a:lnTo>
                    <a:pt x="67818" y="39148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2431CA7-9A7A-6944-300F-E31B2071FE34}"/>
                </a:ext>
              </a:extLst>
            </p:cNvPr>
            <p:cNvSpPr/>
            <p:nvPr/>
          </p:nvSpPr>
          <p:spPr>
            <a:xfrm>
              <a:off x="2033174" y="4557267"/>
              <a:ext cx="65912" cy="88582"/>
            </a:xfrm>
            <a:custGeom>
              <a:avLst/>
              <a:gdLst>
                <a:gd name="connsiteX0" fmla="*/ 35338 w 65912"/>
                <a:gd name="connsiteY0" fmla="*/ 88297 h 88582"/>
                <a:gd name="connsiteX1" fmla="*/ 16669 w 65912"/>
                <a:gd name="connsiteY1" fmla="*/ 84963 h 88582"/>
                <a:gd name="connsiteX2" fmla="*/ 0 w 65912"/>
                <a:gd name="connsiteY2" fmla="*/ 75819 h 88582"/>
                <a:gd name="connsiteX3" fmla="*/ 6477 w 65912"/>
                <a:gd name="connsiteY3" fmla="*/ 66770 h 88582"/>
                <a:gd name="connsiteX4" fmla="*/ 20955 w 65912"/>
                <a:gd name="connsiteY4" fmla="*/ 74867 h 88582"/>
                <a:gd name="connsiteX5" fmla="*/ 36100 w 65912"/>
                <a:gd name="connsiteY5" fmla="*/ 77629 h 88582"/>
                <a:gd name="connsiteX6" fmla="*/ 48768 w 65912"/>
                <a:gd name="connsiteY6" fmla="*/ 74009 h 88582"/>
                <a:gd name="connsiteX7" fmla="*/ 53721 w 65912"/>
                <a:gd name="connsiteY7" fmla="*/ 64103 h 88582"/>
                <a:gd name="connsiteX8" fmla="*/ 53721 w 65912"/>
                <a:gd name="connsiteY8" fmla="*/ 63818 h 88582"/>
                <a:gd name="connsiteX9" fmla="*/ 52006 w 65912"/>
                <a:gd name="connsiteY9" fmla="*/ 58388 h 88582"/>
                <a:gd name="connsiteX10" fmla="*/ 47339 w 65912"/>
                <a:gd name="connsiteY10" fmla="*/ 54388 h 88582"/>
                <a:gd name="connsiteX11" fmla="*/ 40481 w 65912"/>
                <a:gd name="connsiteY11" fmla="*/ 51340 h 88582"/>
                <a:gd name="connsiteX12" fmla="*/ 32480 w 65912"/>
                <a:gd name="connsiteY12" fmla="*/ 48863 h 88582"/>
                <a:gd name="connsiteX13" fmla="*/ 22479 w 65912"/>
                <a:gd name="connsiteY13" fmla="*/ 45625 h 88582"/>
                <a:gd name="connsiteX14" fmla="*/ 13430 w 65912"/>
                <a:gd name="connsiteY14" fmla="*/ 41243 h 88582"/>
                <a:gd name="connsiteX15" fmla="*/ 6858 w 65912"/>
                <a:gd name="connsiteY15" fmla="*/ 34671 h 88582"/>
                <a:gd name="connsiteX16" fmla="*/ 4286 w 65912"/>
                <a:gd name="connsiteY16" fmla="*/ 24765 h 88582"/>
                <a:gd name="connsiteX17" fmla="*/ 4286 w 65912"/>
                <a:gd name="connsiteY17" fmla="*/ 24384 h 88582"/>
                <a:gd name="connsiteX18" fmla="*/ 6477 w 65912"/>
                <a:gd name="connsiteY18" fmla="*/ 14383 h 88582"/>
                <a:gd name="connsiteX19" fmla="*/ 12478 w 65912"/>
                <a:gd name="connsiteY19" fmla="*/ 6668 h 88582"/>
                <a:gd name="connsiteX20" fmla="*/ 21717 w 65912"/>
                <a:gd name="connsiteY20" fmla="*/ 1715 h 88582"/>
                <a:gd name="connsiteX21" fmla="*/ 33338 w 65912"/>
                <a:gd name="connsiteY21" fmla="*/ 0 h 88582"/>
                <a:gd name="connsiteX22" fmla="*/ 49340 w 65912"/>
                <a:gd name="connsiteY22" fmla="*/ 2572 h 88582"/>
                <a:gd name="connsiteX23" fmla="*/ 64008 w 65912"/>
                <a:gd name="connsiteY23" fmla="*/ 9430 h 88582"/>
                <a:gd name="connsiteX24" fmla="*/ 58198 w 65912"/>
                <a:gd name="connsiteY24" fmla="*/ 18955 h 88582"/>
                <a:gd name="connsiteX25" fmla="*/ 45720 w 65912"/>
                <a:gd name="connsiteY25" fmla="*/ 12954 h 88582"/>
                <a:gd name="connsiteX26" fmla="*/ 32956 w 65912"/>
                <a:gd name="connsiteY26" fmla="*/ 10763 h 88582"/>
                <a:gd name="connsiteX27" fmla="*/ 20955 w 65912"/>
                <a:gd name="connsiteY27" fmla="*/ 14288 h 88582"/>
                <a:gd name="connsiteX28" fmla="*/ 16478 w 65912"/>
                <a:gd name="connsiteY28" fmla="*/ 23146 h 88582"/>
                <a:gd name="connsiteX29" fmla="*/ 16478 w 65912"/>
                <a:gd name="connsiteY29" fmla="*/ 23527 h 88582"/>
                <a:gd name="connsiteX30" fmla="*/ 18288 w 65912"/>
                <a:gd name="connsiteY30" fmla="*/ 28766 h 88582"/>
                <a:gd name="connsiteX31" fmla="*/ 23146 w 65912"/>
                <a:gd name="connsiteY31" fmla="*/ 32671 h 88582"/>
                <a:gd name="connsiteX32" fmla="*/ 30194 w 65912"/>
                <a:gd name="connsiteY32" fmla="*/ 35624 h 88582"/>
                <a:gd name="connsiteX33" fmla="*/ 38481 w 65912"/>
                <a:gd name="connsiteY33" fmla="*/ 38291 h 88582"/>
                <a:gd name="connsiteX34" fmla="*/ 48292 w 65912"/>
                <a:gd name="connsiteY34" fmla="*/ 41624 h 88582"/>
                <a:gd name="connsiteX35" fmla="*/ 57150 w 65912"/>
                <a:gd name="connsiteY35" fmla="*/ 46292 h 88582"/>
                <a:gd name="connsiteX36" fmla="*/ 63532 w 65912"/>
                <a:gd name="connsiteY36" fmla="*/ 53054 h 88582"/>
                <a:gd name="connsiteX37" fmla="*/ 65913 w 65912"/>
                <a:gd name="connsiteY37" fmla="*/ 62770 h 88582"/>
                <a:gd name="connsiteX38" fmla="*/ 65913 w 65912"/>
                <a:gd name="connsiteY38" fmla="*/ 63056 h 88582"/>
                <a:gd name="connsiteX39" fmla="*/ 63532 w 65912"/>
                <a:gd name="connsiteY39" fmla="*/ 73819 h 88582"/>
                <a:gd name="connsiteX40" fmla="*/ 57055 w 65912"/>
                <a:gd name="connsiteY40" fmla="*/ 81820 h 88582"/>
                <a:gd name="connsiteX41" fmla="*/ 47530 w 65912"/>
                <a:gd name="connsiteY41" fmla="*/ 86868 h 88582"/>
                <a:gd name="connsiteX42" fmla="*/ 35528 w 65912"/>
                <a:gd name="connsiteY42" fmla="*/ 88583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5912" h="88582">
                  <a:moveTo>
                    <a:pt x="35338" y="88297"/>
                  </a:moveTo>
                  <a:cubicBezTo>
                    <a:pt x="29146" y="88297"/>
                    <a:pt x="22955" y="87154"/>
                    <a:pt x="16669" y="84963"/>
                  </a:cubicBezTo>
                  <a:cubicBezTo>
                    <a:pt x="10382" y="82677"/>
                    <a:pt x="4858" y="79629"/>
                    <a:pt x="0" y="75819"/>
                  </a:cubicBezTo>
                  <a:lnTo>
                    <a:pt x="6477" y="66770"/>
                  </a:lnTo>
                  <a:cubicBezTo>
                    <a:pt x="11049" y="70295"/>
                    <a:pt x="15907" y="72962"/>
                    <a:pt x="20955" y="74867"/>
                  </a:cubicBezTo>
                  <a:cubicBezTo>
                    <a:pt x="26003" y="76771"/>
                    <a:pt x="30956" y="77629"/>
                    <a:pt x="36100" y="77629"/>
                  </a:cubicBezTo>
                  <a:cubicBezTo>
                    <a:pt x="41243" y="77629"/>
                    <a:pt x="45529" y="76391"/>
                    <a:pt x="48768" y="74009"/>
                  </a:cubicBezTo>
                  <a:cubicBezTo>
                    <a:pt x="52006" y="71628"/>
                    <a:pt x="53721" y="68294"/>
                    <a:pt x="53721" y="64103"/>
                  </a:cubicBezTo>
                  <a:lnTo>
                    <a:pt x="53721" y="63818"/>
                  </a:lnTo>
                  <a:cubicBezTo>
                    <a:pt x="53721" y="61722"/>
                    <a:pt x="53150" y="59912"/>
                    <a:pt x="52006" y="58388"/>
                  </a:cubicBezTo>
                  <a:cubicBezTo>
                    <a:pt x="50863" y="56864"/>
                    <a:pt x="49244" y="55531"/>
                    <a:pt x="47339" y="54388"/>
                  </a:cubicBezTo>
                  <a:cubicBezTo>
                    <a:pt x="45339" y="53245"/>
                    <a:pt x="43053" y="52197"/>
                    <a:pt x="40481" y="51340"/>
                  </a:cubicBezTo>
                  <a:cubicBezTo>
                    <a:pt x="37909" y="50483"/>
                    <a:pt x="35242" y="49625"/>
                    <a:pt x="32480" y="48863"/>
                  </a:cubicBezTo>
                  <a:cubicBezTo>
                    <a:pt x="29146" y="47911"/>
                    <a:pt x="25813" y="46768"/>
                    <a:pt x="22479" y="45625"/>
                  </a:cubicBezTo>
                  <a:cubicBezTo>
                    <a:pt x="19145" y="44482"/>
                    <a:pt x="16097" y="43053"/>
                    <a:pt x="13430" y="41243"/>
                  </a:cubicBezTo>
                  <a:cubicBezTo>
                    <a:pt x="10763" y="39433"/>
                    <a:pt x="8573" y="37243"/>
                    <a:pt x="6858" y="34671"/>
                  </a:cubicBezTo>
                  <a:cubicBezTo>
                    <a:pt x="5144" y="32004"/>
                    <a:pt x="4286" y="28766"/>
                    <a:pt x="4286" y="24765"/>
                  </a:cubicBezTo>
                  <a:lnTo>
                    <a:pt x="4286" y="24384"/>
                  </a:lnTo>
                  <a:cubicBezTo>
                    <a:pt x="4286" y="20765"/>
                    <a:pt x="5048" y="17431"/>
                    <a:pt x="6477" y="14383"/>
                  </a:cubicBezTo>
                  <a:cubicBezTo>
                    <a:pt x="7906" y="11335"/>
                    <a:pt x="9906" y="8763"/>
                    <a:pt x="12478" y="6668"/>
                  </a:cubicBezTo>
                  <a:cubicBezTo>
                    <a:pt x="15050" y="4572"/>
                    <a:pt x="18193" y="2858"/>
                    <a:pt x="21717" y="1715"/>
                  </a:cubicBezTo>
                  <a:cubicBezTo>
                    <a:pt x="25241" y="571"/>
                    <a:pt x="29146" y="0"/>
                    <a:pt x="33338" y="0"/>
                  </a:cubicBezTo>
                  <a:cubicBezTo>
                    <a:pt x="38576" y="0"/>
                    <a:pt x="43910" y="857"/>
                    <a:pt x="49340" y="2572"/>
                  </a:cubicBezTo>
                  <a:cubicBezTo>
                    <a:pt x="54769" y="4286"/>
                    <a:pt x="59627" y="6572"/>
                    <a:pt x="64008" y="9430"/>
                  </a:cubicBezTo>
                  <a:lnTo>
                    <a:pt x="58198" y="18955"/>
                  </a:lnTo>
                  <a:cubicBezTo>
                    <a:pt x="54197" y="16383"/>
                    <a:pt x="50102" y="14383"/>
                    <a:pt x="45720" y="12954"/>
                  </a:cubicBezTo>
                  <a:cubicBezTo>
                    <a:pt x="41338" y="11430"/>
                    <a:pt x="37148" y="10763"/>
                    <a:pt x="32956" y="10763"/>
                  </a:cubicBezTo>
                  <a:cubicBezTo>
                    <a:pt x="27908" y="10763"/>
                    <a:pt x="23908" y="11906"/>
                    <a:pt x="20955" y="14288"/>
                  </a:cubicBezTo>
                  <a:cubicBezTo>
                    <a:pt x="18002" y="16669"/>
                    <a:pt x="16478" y="19621"/>
                    <a:pt x="16478" y="23146"/>
                  </a:cubicBezTo>
                  <a:lnTo>
                    <a:pt x="16478" y="23527"/>
                  </a:lnTo>
                  <a:cubicBezTo>
                    <a:pt x="16478" y="25527"/>
                    <a:pt x="17050" y="27242"/>
                    <a:pt x="18288" y="28766"/>
                  </a:cubicBezTo>
                  <a:cubicBezTo>
                    <a:pt x="19526" y="30290"/>
                    <a:pt x="21146" y="31528"/>
                    <a:pt x="23146" y="32671"/>
                  </a:cubicBezTo>
                  <a:cubicBezTo>
                    <a:pt x="25146" y="33814"/>
                    <a:pt x="27527" y="34766"/>
                    <a:pt x="30194" y="35624"/>
                  </a:cubicBezTo>
                  <a:cubicBezTo>
                    <a:pt x="32861" y="36481"/>
                    <a:pt x="35623" y="37338"/>
                    <a:pt x="38481" y="38291"/>
                  </a:cubicBezTo>
                  <a:cubicBezTo>
                    <a:pt x="41815" y="39243"/>
                    <a:pt x="45053" y="40386"/>
                    <a:pt x="48292" y="41624"/>
                  </a:cubicBezTo>
                  <a:cubicBezTo>
                    <a:pt x="51530" y="42863"/>
                    <a:pt x="54483" y="44387"/>
                    <a:pt x="57150" y="46292"/>
                  </a:cubicBezTo>
                  <a:cubicBezTo>
                    <a:pt x="59817" y="48196"/>
                    <a:pt x="61913" y="50387"/>
                    <a:pt x="63532" y="53054"/>
                  </a:cubicBezTo>
                  <a:cubicBezTo>
                    <a:pt x="65151" y="55721"/>
                    <a:pt x="65913" y="58960"/>
                    <a:pt x="65913" y="62770"/>
                  </a:cubicBezTo>
                  <a:lnTo>
                    <a:pt x="65913" y="63056"/>
                  </a:lnTo>
                  <a:cubicBezTo>
                    <a:pt x="65913" y="67151"/>
                    <a:pt x="65151" y="70771"/>
                    <a:pt x="63532" y="73819"/>
                  </a:cubicBezTo>
                  <a:cubicBezTo>
                    <a:pt x="61913" y="76962"/>
                    <a:pt x="59817" y="79629"/>
                    <a:pt x="57055" y="81820"/>
                  </a:cubicBezTo>
                  <a:cubicBezTo>
                    <a:pt x="54388" y="84011"/>
                    <a:pt x="51149" y="85725"/>
                    <a:pt x="47530" y="86868"/>
                  </a:cubicBezTo>
                  <a:cubicBezTo>
                    <a:pt x="43815" y="88011"/>
                    <a:pt x="39815" y="88583"/>
                    <a:pt x="35528" y="88583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CF230D1-1A49-5CDA-0234-109A873C350D}"/>
                </a:ext>
              </a:extLst>
            </p:cNvPr>
            <p:cNvSpPr/>
            <p:nvPr/>
          </p:nvSpPr>
          <p:spPr>
            <a:xfrm>
              <a:off x="2116042" y="4557267"/>
              <a:ext cx="75152" cy="88582"/>
            </a:xfrm>
            <a:custGeom>
              <a:avLst/>
              <a:gdLst>
                <a:gd name="connsiteX0" fmla="*/ 31814 w 75152"/>
                <a:gd name="connsiteY0" fmla="*/ 88487 h 88582"/>
                <a:gd name="connsiteX1" fmla="*/ 20098 w 75152"/>
                <a:gd name="connsiteY1" fmla="*/ 86868 h 88582"/>
                <a:gd name="connsiteX2" fmla="*/ 9906 w 75152"/>
                <a:gd name="connsiteY2" fmla="*/ 81820 h 88582"/>
                <a:gd name="connsiteX3" fmla="*/ 2762 w 75152"/>
                <a:gd name="connsiteY3" fmla="*/ 73438 h 88582"/>
                <a:gd name="connsiteX4" fmla="*/ 0 w 75152"/>
                <a:gd name="connsiteY4" fmla="*/ 61913 h 88582"/>
                <a:gd name="connsiteX5" fmla="*/ 0 w 75152"/>
                <a:gd name="connsiteY5" fmla="*/ 61532 h 88582"/>
                <a:gd name="connsiteX6" fmla="*/ 2667 w 75152"/>
                <a:gd name="connsiteY6" fmla="*/ 49435 h 88582"/>
                <a:gd name="connsiteX7" fmla="*/ 10192 w 75152"/>
                <a:gd name="connsiteY7" fmla="*/ 40767 h 88582"/>
                <a:gd name="connsiteX8" fmla="*/ 21717 w 75152"/>
                <a:gd name="connsiteY8" fmla="*/ 35528 h 88582"/>
                <a:gd name="connsiteX9" fmla="*/ 36481 w 75152"/>
                <a:gd name="connsiteY9" fmla="*/ 33719 h 88582"/>
                <a:gd name="connsiteX10" fmla="*/ 50768 w 75152"/>
                <a:gd name="connsiteY10" fmla="*/ 34671 h 88582"/>
                <a:gd name="connsiteX11" fmla="*/ 62579 w 75152"/>
                <a:gd name="connsiteY11" fmla="*/ 37338 h 88582"/>
                <a:gd name="connsiteX12" fmla="*/ 62579 w 75152"/>
                <a:gd name="connsiteY12" fmla="*/ 34671 h 88582"/>
                <a:gd name="connsiteX13" fmla="*/ 56007 w 75152"/>
                <a:gd name="connsiteY13" fmla="*/ 17526 h 88582"/>
                <a:gd name="connsiteX14" fmla="*/ 37338 w 75152"/>
                <a:gd name="connsiteY14" fmla="*/ 11716 h 88582"/>
                <a:gd name="connsiteX15" fmla="*/ 23527 w 75152"/>
                <a:gd name="connsiteY15" fmla="*/ 13335 h 88582"/>
                <a:gd name="connsiteX16" fmla="*/ 11430 w 75152"/>
                <a:gd name="connsiteY16" fmla="*/ 17812 h 88582"/>
                <a:gd name="connsiteX17" fmla="*/ 7620 w 75152"/>
                <a:gd name="connsiteY17" fmla="*/ 7334 h 88582"/>
                <a:gd name="connsiteX18" fmla="*/ 22003 w 75152"/>
                <a:gd name="connsiteY18" fmla="*/ 2000 h 88582"/>
                <a:gd name="connsiteX19" fmla="*/ 38672 w 75152"/>
                <a:gd name="connsiteY19" fmla="*/ 0 h 88582"/>
                <a:gd name="connsiteX20" fmla="*/ 66199 w 75152"/>
                <a:gd name="connsiteY20" fmla="*/ 9430 h 88582"/>
                <a:gd name="connsiteX21" fmla="*/ 75152 w 75152"/>
                <a:gd name="connsiteY21" fmla="*/ 34481 h 88582"/>
                <a:gd name="connsiteX22" fmla="*/ 75152 w 75152"/>
                <a:gd name="connsiteY22" fmla="*/ 86678 h 88582"/>
                <a:gd name="connsiteX23" fmla="*/ 62579 w 75152"/>
                <a:gd name="connsiteY23" fmla="*/ 86678 h 88582"/>
                <a:gd name="connsiteX24" fmla="*/ 62579 w 75152"/>
                <a:gd name="connsiteY24" fmla="*/ 74009 h 88582"/>
                <a:gd name="connsiteX25" fmla="*/ 50578 w 75152"/>
                <a:gd name="connsiteY25" fmla="*/ 84201 h 88582"/>
                <a:gd name="connsiteX26" fmla="*/ 31814 w 75152"/>
                <a:gd name="connsiteY26" fmla="*/ 88583 h 88582"/>
                <a:gd name="connsiteX27" fmla="*/ 34385 w 75152"/>
                <a:gd name="connsiteY27" fmla="*/ 78105 h 88582"/>
                <a:gd name="connsiteX28" fmla="*/ 45434 w 75152"/>
                <a:gd name="connsiteY28" fmla="*/ 76486 h 88582"/>
                <a:gd name="connsiteX29" fmla="*/ 54388 w 75152"/>
                <a:gd name="connsiteY29" fmla="*/ 71819 h 88582"/>
                <a:gd name="connsiteX30" fmla="*/ 60484 w 75152"/>
                <a:gd name="connsiteY30" fmla="*/ 64579 h 88582"/>
                <a:gd name="connsiteX31" fmla="*/ 62675 w 75152"/>
                <a:gd name="connsiteY31" fmla="*/ 55340 h 88582"/>
                <a:gd name="connsiteX32" fmla="*/ 62675 w 75152"/>
                <a:gd name="connsiteY32" fmla="*/ 47435 h 88582"/>
                <a:gd name="connsiteX33" fmla="*/ 51816 w 75152"/>
                <a:gd name="connsiteY33" fmla="*/ 44958 h 88582"/>
                <a:gd name="connsiteX34" fmla="*/ 37814 w 75152"/>
                <a:gd name="connsiteY34" fmla="*/ 43815 h 88582"/>
                <a:gd name="connsiteX35" fmla="*/ 19431 w 75152"/>
                <a:gd name="connsiteY35" fmla="*/ 48482 h 88582"/>
                <a:gd name="connsiteX36" fmla="*/ 12954 w 75152"/>
                <a:gd name="connsiteY36" fmla="*/ 60865 h 88582"/>
                <a:gd name="connsiteX37" fmla="*/ 12954 w 75152"/>
                <a:gd name="connsiteY37" fmla="*/ 61246 h 88582"/>
                <a:gd name="connsiteX38" fmla="*/ 14669 w 75152"/>
                <a:gd name="connsiteY38" fmla="*/ 68390 h 88582"/>
                <a:gd name="connsiteX39" fmla="*/ 19336 w 75152"/>
                <a:gd name="connsiteY39" fmla="*/ 73724 h 88582"/>
                <a:gd name="connsiteX40" fmla="*/ 26194 w 75152"/>
                <a:gd name="connsiteY40" fmla="*/ 76962 h 88582"/>
                <a:gd name="connsiteX41" fmla="*/ 34385 w 75152"/>
                <a:gd name="connsiteY41" fmla="*/ 78105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5152" h="88582">
                  <a:moveTo>
                    <a:pt x="31814" y="88487"/>
                  </a:moveTo>
                  <a:cubicBezTo>
                    <a:pt x="27813" y="88487"/>
                    <a:pt x="23908" y="87916"/>
                    <a:pt x="20098" y="86868"/>
                  </a:cubicBezTo>
                  <a:cubicBezTo>
                    <a:pt x="16288" y="85820"/>
                    <a:pt x="12859" y="84106"/>
                    <a:pt x="9906" y="81820"/>
                  </a:cubicBezTo>
                  <a:cubicBezTo>
                    <a:pt x="6953" y="79534"/>
                    <a:pt x="4572" y="76771"/>
                    <a:pt x="2762" y="73438"/>
                  </a:cubicBezTo>
                  <a:cubicBezTo>
                    <a:pt x="952" y="70104"/>
                    <a:pt x="0" y="66294"/>
                    <a:pt x="0" y="61913"/>
                  </a:cubicBezTo>
                  <a:lnTo>
                    <a:pt x="0" y="61532"/>
                  </a:lnTo>
                  <a:cubicBezTo>
                    <a:pt x="0" y="56864"/>
                    <a:pt x="857" y="52864"/>
                    <a:pt x="2667" y="49435"/>
                  </a:cubicBezTo>
                  <a:cubicBezTo>
                    <a:pt x="4477" y="46006"/>
                    <a:pt x="6953" y="43053"/>
                    <a:pt x="10192" y="40767"/>
                  </a:cubicBezTo>
                  <a:cubicBezTo>
                    <a:pt x="13430" y="38481"/>
                    <a:pt x="17335" y="36671"/>
                    <a:pt x="21717" y="35528"/>
                  </a:cubicBezTo>
                  <a:cubicBezTo>
                    <a:pt x="26099" y="34385"/>
                    <a:pt x="31147" y="33719"/>
                    <a:pt x="36481" y="33719"/>
                  </a:cubicBezTo>
                  <a:cubicBezTo>
                    <a:pt x="41815" y="33719"/>
                    <a:pt x="46768" y="34004"/>
                    <a:pt x="50768" y="34671"/>
                  </a:cubicBezTo>
                  <a:cubicBezTo>
                    <a:pt x="54769" y="35338"/>
                    <a:pt x="58674" y="36195"/>
                    <a:pt x="62579" y="37338"/>
                  </a:cubicBezTo>
                  <a:lnTo>
                    <a:pt x="62579" y="34671"/>
                  </a:lnTo>
                  <a:cubicBezTo>
                    <a:pt x="62579" y="27146"/>
                    <a:pt x="60389" y="21431"/>
                    <a:pt x="56007" y="17526"/>
                  </a:cubicBezTo>
                  <a:cubicBezTo>
                    <a:pt x="51626" y="13621"/>
                    <a:pt x="45339" y="11716"/>
                    <a:pt x="37338" y="11716"/>
                  </a:cubicBezTo>
                  <a:cubicBezTo>
                    <a:pt x="32290" y="11716"/>
                    <a:pt x="27718" y="12287"/>
                    <a:pt x="23527" y="13335"/>
                  </a:cubicBezTo>
                  <a:cubicBezTo>
                    <a:pt x="19431" y="14478"/>
                    <a:pt x="15335" y="15907"/>
                    <a:pt x="11430" y="17812"/>
                  </a:cubicBezTo>
                  <a:lnTo>
                    <a:pt x="7620" y="7334"/>
                  </a:lnTo>
                  <a:cubicBezTo>
                    <a:pt x="12383" y="5144"/>
                    <a:pt x="17145" y="3334"/>
                    <a:pt x="22003" y="2000"/>
                  </a:cubicBezTo>
                  <a:cubicBezTo>
                    <a:pt x="26860" y="667"/>
                    <a:pt x="32385" y="0"/>
                    <a:pt x="38672" y="0"/>
                  </a:cubicBezTo>
                  <a:cubicBezTo>
                    <a:pt x="50768" y="0"/>
                    <a:pt x="60007" y="3143"/>
                    <a:pt x="66199" y="9430"/>
                  </a:cubicBezTo>
                  <a:cubicBezTo>
                    <a:pt x="72104" y="15335"/>
                    <a:pt x="75152" y="23717"/>
                    <a:pt x="75152" y="34481"/>
                  </a:cubicBezTo>
                  <a:lnTo>
                    <a:pt x="75152" y="86678"/>
                  </a:lnTo>
                  <a:lnTo>
                    <a:pt x="62579" y="86678"/>
                  </a:lnTo>
                  <a:lnTo>
                    <a:pt x="62579" y="74009"/>
                  </a:lnTo>
                  <a:cubicBezTo>
                    <a:pt x="59627" y="77819"/>
                    <a:pt x="55626" y="81248"/>
                    <a:pt x="50578" y="84201"/>
                  </a:cubicBezTo>
                  <a:cubicBezTo>
                    <a:pt x="45530" y="87154"/>
                    <a:pt x="39338" y="88583"/>
                    <a:pt x="31814" y="88583"/>
                  </a:cubicBezTo>
                  <a:close/>
                  <a:moveTo>
                    <a:pt x="34385" y="78105"/>
                  </a:moveTo>
                  <a:cubicBezTo>
                    <a:pt x="38290" y="78105"/>
                    <a:pt x="42005" y="77533"/>
                    <a:pt x="45434" y="76486"/>
                  </a:cubicBezTo>
                  <a:cubicBezTo>
                    <a:pt x="48863" y="75343"/>
                    <a:pt x="51816" y="73819"/>
                    <a:pt x="54388" y="71819"/>
                  </a:cubicBezTo>
                  <a:cubicBezTo>
                    <a:pt x="56960" y="69818"/>
                    <a:pt x="58960" y="67342"/>
                    <a:pt x="60484" y="64579"/>
                  </a:cubicBezTo>
                  <a:cubicBezTo>
                    <a:pt x="62008" y="61817"/>
                    <a:pt x="62675" y="58674"/>
                    <a:pt x="62675" y="55340"/>
                  </a:cubicBezTo>
                  <a:lnTo>
                    <a:pt x="62675" y="47435"/>
                  </a:lnTo>
                  <a:cubicBezTo>
                    <a:pt x="59531" y="46577"/>
                    <a:pt x="55912" y="45720"/>
                    <a:pt x="51816" y="44958"/>
                  </a:cubicBezTo>
                  <a:cubicBezTo>
                    <a:pt x="47720" y="44196"/>
                    <a:pt x="43053" y="43815"/>
                    <a:pt x="37814" y="43815"/>
                  </a:cubicBezTo>
                  <a:cubicBezTo>
                    <a:pt x="29908" y="43815"/>
                    <a:pt x="23813" y="45339"/>
                    <a:pt x="19431" y="48482"/>
                  </a:cubicBezTo>
                  <a:cubicBezTo>
                    <a:pt x="15050" y="51625"/>
                    <a:pt x="12954" y="55721"/>
                    <a:pt x="12954" y="60865"/>
                  </a:cubicBezTo>
                  <a:lnTo>
                    <a:pt x="12954" y="61246"/>
                  </a:lnTo>
                  <a:cubicBezTo>
                    <a:pt x="12954" y="63913"/>
                    <a:pt x="13526" y="66294"/>
                    <a:pt x="14669" y="68390"/>
                  </a:cubicBezTo>
                  <a:cubicBezTo>
                    <a:pt x="15812" y="70485"/>
                    <a:pt x="17335" y="72295"/>
                    <a:pt x="19336" y="73724"/>
                  </a:cubicBezTo>
                  <a:cubicBezTo>
                    <a:pt x="21336" y="75152"/>
                    <a:pt x="23622" y="76200"/>
                    <a:pt x="26194" y="76962"/>
                  </a:cubicBezTo>
                  <a:cubicBezTo>
                    <a:pt x="28766" y="77724"/>
                    <a:pt x="31528" y="78105"/>
                    <a:pt x="34385" y="78105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E6564B19-B5F3-CC73-1FB0-EFE0B73D1FAC}"/>
                </a:ext>
              </a:extLst>
            </p:cNvPr>
            <p:cNvSpPr/>
            <p:nvPr/>
          </p:nvSpPr>
          <p:spPr>
            <a:xfrm>
              <a:off x="2219102" y="4523454"/>
              <a:ext cx="12668" cy="120491"/>
            </a:xfrm>
            <a:custGeom>
              <a:avLst/>
              <a:gdLst>
                <a:gd name="connsiteX0" fmla="*/ 0 w 12668"/>
                <a:gd name="connsiteY0" fmla="*/ 0 h 120491"/>
                <a:gd name="connsiteX1" fmla="*/ 12668 w 12668"/>
                <a:gd name="connsiteY1" fmla="*/ 0 h 120491"/>
                <a:gd name="connsiteX2" fmla="*/ 12668 w 12668"/>
                <a:gd name="connsiteY2" fmla="*/ 120491 h 120491"/>
                <a:gd name="connsiteX3" fmla="*/ 0 w 12668"/>
                <a:gd name="connsiteY3" fmla="*/ 120491 h 120491"/>
                <a:gd name="connsiteX4" fmla="*/ 0 w 12668"/>
                <a:gd name="connsiteY4" fmla="*/ 0 h 12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" h="120491">
                  <a:moveTo>
                    <a:pt x="0" y="0"/>
                  </a:moveTo>
                  <a:lnTo>
                    <a:pt x="12668" y="0"/>
                  </a:lnTo>
                  <a:lnTo>
                    <a:pt x="12668" y="120491"/>
                  </a:lnTo>
                  <a:lnTo>
                    <a:pt x="0" y="1204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53810C7-0814-53AB-78E8-F29294033546}"/>
                </a:ext>
              </a:extLst>
            </p:cNvPr>
            <p:cNvSpPr/>
            <p:nvPr/>
          </p:nvSpPr>
          <p:spPr>
            <a:xfrm>
              <a:off x="2252916" y="4558601"/>
              <a:ext cx="85344" cy="86010"/>
            </a:xfrm>
            <a:custGeom>
              <a:avLst/>
              <a:gdLst>
                <a:gd name="connsiteX0" fmla="*/ 95 w 85344"/>
                <a:gd name="connsiteY0" fmla="*/ 0 h 86010"/>
                <a:gd name="connsiteX1" fmla="*/ 14097 w 85344"/>
                <a:gd name="connsiteY1" fmla="*/ 0 h 86010"/>
                <a:gd name="connsiteX2" fmla="*/ 42767 w 85344"/>
                <a:gd name="connsiteY2" fmla="*/ 70771 h 86010"/>
                <a:gd name="connsiteX3" fmla="*/ 71628 w 85344"/>
                <a:gd name="connsiteY3" fmla="*/ 0 h 86010"/>
                <a:gd name="connsiteX4" fmla="*/ 85344 w 85344"/>
                <a:gd name="connsiteY4" fmla="*/ 0 h 86010"/>
                <a:gd name="connsiteX5" fmla="*/ 48196 w 85344"/>
                <a:gd name="connsiteY5" fmla="*/ 86011 h 86010"/>
                <a:gd name="connsiteX6" fmla="*/ 36957 w 85344"/>
                <a:gd name="connsiteY6" fmla="*/ 86011 h 86010"/>
                <a:gd name="connsiteX7" fmla="*/ 0 w 85344"/>
                <a:gd name="connsiteY7" fmla="*/ 0 h 86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44" h="86010">
                  <a:moveTo>
                    <a:pt x="95" y="0"/>
                  </a:moveTo>
                  <a:lnTo>
                    <a:pt x="14097" y="0"/>
                  </a:lnTo>
                  <a:lnTo>
                    <a:pt x="42767" y="70771"/>
                  </a:lnTo>
                  <a:lnTo>
                    <a:pt x="71628" y="0"/>
                  </a:lnTo>
                  <a:lnTo>
                    <a:pt x="85344" y="0"/>
                  </a:lnTo>
                  <a:lnTo>
                    <a:pt x="48196" y="86011"/>
                  </a:lnTo>
                  <a:lnTo>
                    <a:pt x="36957" y="860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A7050336-C985-4531-8C82-BEED677D0543}"/>
                </a:ext>
              </a:extLst>
            </p:cNvPr>
            <p:cNvSpPr/>
            <p:nvPr/>
          </p:nvSpPr>
          <p:spPr>
            <a:xfrm>
              <a:off x="2351881" y="4557267"/>
              <a:ext cx="75152" cy="88582"/>
            </a:xfrm>
            <a:custGeom>
              <a:avLst/>
              <a:gdLst>
                <a:gd name="connsiteX0" fmla="*/ 31813 w 75152"/>
                <a:gd name="connsiteY0" fmla="*/ 88487 h 88582"/>
                <a:gd name="connsiteX1" fmla="*/ 20098 w 75152"/>
                <a:gd name="connsiteY1" fmla="*/ 86868 h 88582"/>
                <a:gd name="connsiteX2" fmla="*/ 9906 w 75152"/>
                <a:gd name="connsiteY2" fmla="*/ 81820 h 88582"/>
                <a:gd name="connsiteX3" fmla="*/ 2762 w 75152"/>
                <a:gd name="connsiteY3" fmla="*/ 73438 h 88582"/>
                <a:gd name="connsiteX4" fmla="*/ 0 w 75152"/>
                <a:gd name="connsiteY4" fmla="*/ 61913 h 88582"/>
                <a:gd name="connsiteX5" fmla="*/ 0 w 75152"/>
                <a:gd name="connsiteY5" fmla="*/ 61532 h 88582"/>
                <a:gd name="connsiteX6" fmla="*/ 2667 w 75152"/>
                <a:gd name="connsiteY6" fmla="*/ 49435 h 88582"/>
                <a:gd name="connsiteX7" fmla="*/ 10192 w 75152"/>
                <a:gd name="connsiteY7" fmla="*/ 40767 h 88582"/>
                <a:gd name="connsiteX8" fmla="*/ 21717 w 75152"/>
                <a:gd name="connsiteY8" fmla="*/ 35528 h 88582"/>
                <a:gd name="connsiteX9" fmla="*/ 36481 w 75152"/>
                <a:gd name="connsiteY9" fmla="*/ 33719 h 88582"/>
                <a:gd name="connsiteX10" fmla="*/ 50768 w 75152"/>
                <a:gd name="connsiteY10" fmla="*/ 34671 h 88582"/>
                <a:gd name="connsiteX11" fmla="*/ 62579 w 75152"/>
                <a:gd name="connsiteY11" fmla="*/ 37338 h 88582"/>
                <a:gd name="connsiteX12" fmla="*/ 62579 w 75152"/>
                <a:gd name="connsiteY12" fmla="*/ 34671 h 88582"/>
                <a:gd name="connsiteX13" fmla="*/ 56007 w 75152"/>
                <a:gd name="connsiteY13" fmla="*/ 17526 h 88582"/>
                <a:gd name="connsiteX14" fmla="*/ 37338 w 75152"/>
                <a:gd name="connsiteY14" fmla="*/ 11716 h 88582"/>
                <a:gd name="connsiteX15" fmla="*/ 23527 w 75152"/>
                <a:gd name="connsiteY15" fmla="*/ 13335 h 88582"/>
                <a:gd name="connsiteX16" fmla="*/ 11430 w 75152"/>
                <a:gd name="connsiteY16" fmla="*/ 17812 h 88582"/>
                <a:gd name="connsiteX17" fmla="*/ 7620 w 75152"/>
                <a:gd name="connsiteY17" fmla="*/ 7334 h 88582"/>
                <a:gd name="connsiteX18" fmla="*/ 22003 w 75152"/>
                <a:gd name="connsiteY18" fmla="*/ 2000 h 88582"/>
                <a:gd name="connsiteX19" fmla="*/ 38671 w 75152"/>
                <a:gd name="connsiteY19" fmla="*/ 0 h 88582"/>
                <a:gd name="connsiteX20" fmla="*/ 66199 w 75152"/>
                <a:gd name="connsiteY20" fmla="*/ 9430 h 88582"/>
                <a:gd name="connsiteX21" fmla="*/ 75152 w 75152"/>
                <a:gd name="connsiteY21" fmla="*/ 34481 h 88582"/>
                <a:gd name="connsiteX22" fmla="*/ 75152 w 75152"/>
                <a:gd name="connsiteY22" fmla="*/ 86678 h 88582"/>
                <a:gd name="connsiteX23" fmla="*/ 62579 w 75152"/>
                <a:gd name="connsiteY23" fmla="*/ 86678 h 88582"/>
                <a:gd name="connsiteX24" fmla="*/ 62579 w 75152"/>
                <a:gd name="connsiteY24" fmla="*/ 74009 h 88582"/>
                <a:gd name="connsiteX25" fmla="*/ 50578 w 75152"/>
                <a:gd name="connsiteY25" fmla="*/ 84201 h 88582"/>
                <a:gd name="connsiteX26" fmla="*/ 31813 w 75152"/>
                <a:gd name="connsiteY26" fmla="*/ 88583 h 88582"/>
                <a:gd name="connsiteX27" fmla="*/ 34385 w 75152"/>
                <a:gd name="connsiteY27" fmla="*/ 78105 h 88582"/>
                <a:gd name="connsiteX28" fmla="*/ 45434 w 75152"/>
                <a:gd name="connsiteY28" fmla="*/ 76486 h 88582"/>
                <a:gd name="connsiteX29" fmla="*/ 54388 w 75152"/>
                <a:gd name="connsiteY29" fmla="*/ 71819 h 88582"/>
                <a:gd name="connsiteX30" fmla="*/ 60484 w 75152"/>
                <a:gd name="connsiteY30" fmla="*/ 64579 h 88582"/>
                <a:gd name="connsiteX31" fmla="*/ 62675 w 75152"/>
                <a:gd name="connsiteY31" fmla="*/ 55340 h 88582"/>
                <a:gd name="connsiteX32" fmla="*/ 62675 w 75152"/>
                <a:gd name="connsiteY32" fmla="*/ 47435 h 88582"/>
                <a:gd name="connsiteX33" fmla="*/ 51816 w 75152"/>
                <a:gd name="connsiteY33" fmla="*/ 44958 h 88582"/>
                <a:gd name="connsiteX34" fmla="*/ 37814 w 75152"/>
                <a:gd name="connsiteY34" fmla="*/ 43815 h 88582"/>
                <a:gd name="connsiteX35" fmla="*/ 19431 w 75152"/>
                <a:gd name="connsiteY35" fmla="*/ 48482 h 88582"/>
                <a:gd name="connsiteX36" fmla="*/ 12954 w 75152"/>
                <a:gd name="connsiteY36" fmla="*/ 60865 h 88582"/>
                <a:gd name="connsiteX37" fmla="*/ 12954 w 75152"/>
                <a:gd name="connsiteY37" fmla="*/ 61246 h 88582"/>
                <a:gd name="connsiteX38" fmla="*/ 14668 w 75152"/>
                <a:gd name="connsiteY38" fmla="*/ 68390 h 88582"/>
                <a:gd name="connsiteX39" fmla="*/ 19336 w 75152"/>
                <a:gd name="connsiteY39" fmla="*/ 73724 h 88582"/>
                <a:gd name="connsiteX40" fmla="*/ 26194 w 75152"/>
                <a:gd name="connsiteY40" fmla="*/ 76962 h 88582"/>
                <a:gd name="connsiteX41" fmla="*/ 34290 w 75152"/>
                <a:gd name="connsiteY41" fmla="*/ 78105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5152" h="88582">
                  <a:moveTo>
                    <a:pt x="31813" y="88487"/>
                  </a:moveTo>
                  <a:cubicBezTo>
                    <a:pt x="27813" y="88487"/>
                    <a:pt x="23908" y="87916"/>
                    <a:pt x="20098" y="86868"/>
                  </a:cubicBezTo>
                  <a:cubicBezTo>
                    <a:pt x="16288" y="85820"/>
                    <a:pt x="12859" y="84106"/>
                    <a:pt x="9906" y="81820"/>
                  </a:cubicBezTo>
                  <a:cubicBezTo>
                    <a:pt x="6953" y="79534"/>
                    <a:pt x="4572" y="76771"/>
                    <a:pt x="2762" y="73438"/>
                  </a:cubicBezTo>
                  <a:cubicBezTo>
                    <a:pt x="953" y="70104"/>
                    <a:pt x="0" y="66294"/>
                    <a:pt x="0" y="61913"/>
                  </a:cubicBezTo>
                  <a:lnTo>
                    <a:pt x="0" y="61532"/>
                  </a:lnTo>
                  <a:cubicBezTo>
                    <a:pt x="0" y="56864"/>
                    <a:pt x="857" y="52864"/>
                    <a:pt x="2667" y="49435"/>
                  </a:cubicBezTo>
                  <a:cubicBezTo>
                    <a:pt x="4382" y="46006"/>
                    <a:pt x="6953" y="43053"/>
                    <a:pt x="10192" y="40767"/>
                  </a:cubicBezTo>
                  <a:cubicBezTo>
                    <a:pt x="13430" y="38481"/>
                    <a:pt x="17336" y="36671"/>
                    <a:pt x="21717" y="35528"/>
                  </a:cubicBezTo>
                  <a:cubicBezTo>
                    <a:pt x="26099" y="34385"/>
                    <a:pt x="31051" y="33719"/>
                    <a:pt x="36481" y="33719"/>
                  </a:cubicBezTo>
                  <a:cubicBezTo>
                    <a:pt x="41910" y="33719"/>
                    <a:pt x="46768" y="34004"/>
                    <a:pt x="50768" y="34671"/>
                  </a:cubicBezTo>
                  <a:cubicBezTo>
                    <a:pt x="54769" y="35338"/>
                    <a:pt x="58674" y="36195"/>
                    <a:pt x="62579" y="37338"/>
                  </a:cubicBezTo>
                  <a:lnTo>
                    <a:pt x="62579" y="34671"/>
                  </a:lnTo>
                  <a:cubicBezTo>
                    <a:pt x="62579" y="27146"/>
                    <a:pt x="60388" y="21431"/>
                    <a:pt x="56007" y="17526"/>
                  </a:cubicBezTo>
                  <a:cubicBezTo>
                    <a:pt x="51625" y="13621"/>
                    <a:pt x="45434" y="11716"/>
                    <a:pt x="37338" y="11716"/>
                  </a:cubicBezTo>
                  <a:cubicBezTo>
                    <a:pt x="32290" y="11716"/>
                    <a:pt x="27718" y="12287"/>
                    <a:pt x="23527" y="13335"/>
                  </a:cubicBezTo>
                  <a:cubicBezTo>
                    <a:pt x="19431" y="14478"/>
                    <a:pt x="15335" y="15907"/>
                    <a:pt x="11430" y="17812"/>
                  </a:cubicBezTo>
                  <a:lnTo>
                    <a:pt x="7620" y="7334"/>
                  </a:lnTo>
                  <a:cubicBezTo>
                    <a:pt x="12383" y="5144"/>
                    <a:pt x="17145" y="3334"/>
                    <a:pt x="22003" y="2000"/>
                  </a:cubicBezTo>
                  <a:cubicBezTo>
                    <a:pt x="26861" y="667"/>
                    <a:pt x="32385" y="0"/>
                    <a:pt x="38671" y="0"/>
                  </a:cubicBezTo>
                  <a:cubicBezTo>
                    <a:pt x="50768" y="0"/>
                    <a:pt x="60008" y="3143"/>
                    <a:pt x="66199" y="9430"/>
                  </a:cubicBezTo>
                  <a:cubicBezTo>
                    <a:pt x="72104" y="15335"/>
                    <a:pt x="75152" y="23717"/>
                    <a:pt x="75152" y="34481"/>
                  </a:cubicBezTo>
                  <a:lnTo>
                    <a:pt x="75152" y="86678"/>
                  </a:lnTo>
                  <a:lnTo>
                    <a:pt x="62579" y="86678"/>
                  </a:lnTo>
                  <a:lnTo>
                    <a:pt x="62579" y="74009"/>
                  </a:lnTo>
                  <a:cubicBezTo>
                    <a:pt x="59626" y="77819"/>
                    <a:pt x="55626" y="81248"/>
                    <a:pt x="50578" y="84201"/>
                  </a:cubicBezTo>
                  <a:cubicBezTo>
                    <a:pt x="45529" y="87154"/>
                    <a:pt x="39338" y="88583"/>
                    <a:pt x="31813" y="88583"/>
                  </a:cubicBezTo>
                  <a:close/>
                  <a:moveTo>
                    <a:pt x="34385" y="78105"/>
                  </a:moveTo>
                  <a:cubicBezTo>
                    <a:pt x="38386" y="78105"/>
                    <a:pt x="42005" y="77533"/>
                    <a:pt x="45434" y="76486"/>
                  </a:cubicBezTo>
                  <a:cubicBezTo>
                    <a:pt x="48863" y="75438"/>
                    <a:pt x="51816" y="73819"/>
                    <a:pt x="54388" y="71819"/>
                  </a:cubicBezTo>
                  <a:cubicBezTo>
                    <a:pt x="56959" y="69818"/>
                    <a:pt x="58960" y="67342"/>
                    <a:pt x="60484" y="64579"/>
                  </a:cubicBezTo>
                  <a:cubicBezTo>
                    <a:pt x="62008" y="61817"/>
                    <a:pt x="62675" y="58674"/>
                    <a:pt x="62675" y="55340"/>
                  </a:cubicBezTo>
                  <a:lnTo>
                    <a:pt x="62675" y="47435"/>
                  </a:lnTo>
                  <a:cubicBezTo>
                    <a:pt x="59531" y="46577"/>
                    <a:pt x="55912" y="45720"/>
                    <a:pt x="51816" y="44958"/>
                  </a:cubicBezTo>
                  <a:cubicBezTo>
                    <a:pt x="47720" y="44196"/>
                    <a:pt x="43053" y="43815"/>
                    <a:pt x="37814" y="43815"/>
                  </a:cubicBezTo>
                  <a:cubicBezTo>
                    <a:pt x="29908" y="43815"/>
                    <a:pt x="23813" y="45339"/>
                    <a:pt x="19431" y="48482"/>
                  </a:cubicBezTo>
                  <a:cubicBezTo>
                    <a:pt x="15050" y="51625"/>
                    <a:pt x="12954" y="55721"/>
                    <a:pt x="12954" y="60865"/>
                  </a:cubicBezTo>
                  <a:lnTo>
                    <a:pt x="12954" y="61246"/>
                  </a:lnTo>
                  <a:cubicBezTo>
                    <a:pt x="12954" y="63913"/>
                    <a:pt x="13525" y="66294"/>
                    <a:pt x="14668" y="68390"/>
                  </a:cubicBezTo>
                  <a:cubicBezTo>
                    <a:pt x="15812" y="70485"/>
                    <a:pt x="17431" y="72295"/>
                    <a:pt x="19336" y="73724"/>
                  </a:cubicBezTo>
                  <a:cubicBezTo>
                    <a:pt x="21241" y="75152"/>
                    <a:pt x="23622" y="76200"/>
                    <a:pt x="26194" y="76962"/>
                  </a:cubicBezTo>
                  <a:cubicBezTo>
                    <a:pt x="28766" y="77724"/>
                    <a:pt x="31433" y="78105"/>
                    <a:pt x="34290" y="78105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23724DDC-C748-3F8E-F244-EBAAC100B9E8}"/>
                </a:ext>
              </a:extLst>
            </p:cNvPr>
            <p:cNvSpPr/>
            <p:nvPr/>
          </p:nvSpPr>
          <p:spPr>
            <a:xfrm>
              <a:off x="2453417" y="4556791"/>
              <a:ext cx="129539" cy="87058"/>
            </a:xfrm>
            <a:custGeom>
              <a:avLst/>
              <a:gdLst>
                <a:gd name="connsiteX0" fmla="*/ 381 w 129539"/>
                <a:gd name="connsiteY0" fmla="*/ 1810 h 87058"/>
                <a:gd name="connsiteX1" fmla="*/ 13049 w 129539"/>
                <a:gd name="connsiteY1" fmla="*/ 1810 h 87058"/>
                <a:gd name="connsiteX2" fmla="*/ 13049 w 129539"/>
                <a:gd name="connsiteY2" fmla="*/ 16192 h 87058"/>
                <a:gd name="connsiteX3" fmla="*/ 17717 w 129539"/>
                <a:gd name="connsiteY3" fmla="*/ 10096 h 87058"/>
                <a:gd name="connsiteX4" fmla="*/ 23622 w 129539"/>
                <a:gd name="connsiteY4" fmla="*/ 4858 h 87058"/>
                <a:gd name="connsiteX5" fmla="*/ 31051 w 129539"/>
                <a:gd name="connsiteY5" fmla="*/ 1333 h 87058"/>
                <a:gd name="connsiteX6" fmla="*/ 40576 w 129539"/>
                <a:gd name="connsiteY6" fmla="*/ 0 h 87058"/>
                <a:gd name="connsiteX7" fmla="*/ 57721 w 129539"/>
                <a:gd name="connsiteY7" fmla="*/ 4858 h 87058"/>
                <a:gd name="connsiteX8" fmla="*/ 67913 w 129539"/>
                <a:gd name="connsiteY8" fmla="*/ 16954 h 87058"/>
                <a:gd name="connsiteX9" fmla="*/ 73057 w 129539"/>
                <a:gd name="connsiteY9" fmla="*/ 10382 h 87058"/>
                <a:gd name="connsiteX10" fmla="*/ 79534 w 129539"/>
                <a:gd name="connsiteY10" fmla="*/ 4953 h 87058"/>
                <a:gd name="connsiteX11" fmla="*/ 87725 w 129539"/>
                <a:gd name="connsiteY11" fmla="*/ 1333 h 87058"/>
                <a:gd name="connsiteX12" fmla="*/ 97917 w 129539"/>
                <a:gd name="connsiteY12" fmla="*/ 0 h 87058"/>
                <a:gd name="connsiteX13" fmla="*/ 121158 w 129539"/>
                <a:gd name="connsiteY13" fmla="*/ 9144 h 87058"/>
                <a:gd name="connsiteX14" fmla="*/ 129540 w 129539"/>
                <a:gd name="connsiteY14" fmla="*/ 34290 h 87058"/>
                <a:gd name="connsiteX15" fmla="*/ 129540 w 129539"/>
                <a:gd name="connsiteY15" fmla="*/ 87058 h 87058"/>
                <a:gd name="connsiteX16" fmla="*/ 116872 w 129539"/>
                <a:gd name="connsiteY16" fmla="*/ 87058 h 87058"/>
                <a:gd name="connsiteX17" fmla="*/ 116872 w 129539"/>
                <a:gd name="connsiteY17" fmla="*/ 37338 h 87058"/>
                <a:gd name="connsiteX18" fmla="*/ 110966 w 129539"/>
                <a:gd name="connsiteY18" fmla="*/ 18288 h 87058"/>
                <a:gd name="connsiteX19" fmla="*/ 94679 w 129539"/>
                <a:gd name="connsiteY19" fmla="*/ 11620 h 87058"/>
                <a:gd name="connsiteX20" fmla="*/ 85630 w 129539"/>
                <a:gd name="connsiteY20" fmla="*/ 13335 h 87058"/>
                <a:gd name="connsiteX21" fmla="*/ 78105 w 129539"/>
                <a:gd name="connsiteY21" fmla="*/ 18478 h 87058"/>
                <a:gd name="connsiteX22" fmla="*/ 72962 w 129539"/>
                <a:gd name="connsiteY22" fmla="*/ 26765 h 87058"/>
                <a:gd name="connsiteX23" fmla="*/ 71056 w 129539"/>
                <a:gd name="connsiteY23" fmla="*/ 38005 h 87058"/>
                <a:gd name="connsiteX24" fmla="*/ 71056 w 129539"/>
                <a:gd name="connsiteY24" fmla="*/ 87058 h 87058"/>
                <a:gd name="connsiteX25" fmla="*/ 58483 w 129539"/>
                <a:gd name="connsiteY25" fmla="*/ 87058 h 87058"/>
                <a:gd name="connsiteX26" fmla="*/ 58483 w 129539"/>
                <a:gd name="connsiteY26" fmla="*/ 36957 h 87058"/>
                <a:gd name="connsiteX27" fmla="*/ 52578 w 129539"/>
                <a:gd name="connsiteY27" fmla="*/ 18288 h 87058"/>
                <a:gd name="connsiteX28" fmla="*/ 36481 w 129539"/>
                <a:gd name="connsiteY28" fmla="*/ 11620 h 87058"/>
                <a:gd name="connsiteX29" fmla="*/ 27051 w 129539"/>
                <a:gd name="connsiteY29" fmla="*/ 13621 h 87058"/>
                <a:gd name="connsiteX30" fmla="*/ 19526 w 129539"/>
                <a:gd name="connsiteY30" fmla="*/ 19240 h 87058"/>
                <a:gd name="connsiteX31" fmla="*/ 14478 w 129539"/>
                <a:gd name="connsiteY31" fmla="*/ 27718 h 87058"/>
                <a:gd name="connsiteX32" fmla="*/ 12668 w 129539"/>
                <a:gd name="connsiteY32" fmla="*/ 38481 h 87058"/>
                <a:gd name="connsiteX33" fmla="*/ 12668 w 129539"/>
                <a:gd name="connsiteY33" fmla="*/ 87058 h 87058"/>
                <a:gd name="connsiteX34" fmla="*/ 0 w 129539"/>
                <a:gd name="connsiteY34" fmla="*/ 87058 h 87058"/>
                <a:gd name="connsiteX35" fmla="*/ 0 w 129539"/>
                <a:gd name="connsiteY35" fmla="*/ 1714 h 8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9539" h="87058">
                  <a:moveTo>
                    <a:pt x="381" y="1810"/>
                  </a:moveTo>
                  <a:lnTo>
                    <a:pt x="13049" y="1810"/>
                  </a:lnTo>
                  <a:lnTo>
                    <a:pt x="13049" y="16192"/>
                  </a:lnTo>
                  <a:cubicBezTo>
                    <a:pt x="14478" y="14097"/>
                    <a:pt x="16002" y="12097"/>
                    <a:pt x="17717" y="10096"/>
                  </a:cubicBezTo>
                  <a:cubicBezTo>
                    <a:pt x="19431" y="8096"/>
                    <a:pt x="21336" y="6382"/>
                    <a:pt x="23622" y="4858"/>
                  </a:cubicBezTo>
                  <a:cubicBezTo>
                    <a:pt x="25813" y="3334"/>
                    <a:pt x="28289" y="2191"/>
                    <a:pt x="31051" y="1333"/>
                  </a:cubicBezTo>
                  <a:cubicBezTo>
                    <a:pt x="33814" y="476"/>
                    <a:pt x="36957" y="0"/>
                    <a:pt x="40576" y="0"/>
                  </a:cubicBezTo>
                  <a:cubicBezTo>
                    <a:pt x="47530" y="0"/>
                    <a:pt x="53245" y="1619"/>
                    <a:pt x="57721" y="4858"/>
                  </a:cubicBezTo>
                  <a:cubicBezTo>
                    <a:pt x="62198" y="8096"/>
                    <a:pt x="65627" y="12192"/>
                    <a:pt x="67913" y="16954"/>
                  </a:cubicBezTo>
                  <a:cubicBezTo>
                    <a:pt x="69437" y="14668"/>
                    <a:pt x="71152" y="12478"/>
                    <a:pt x="73057" y="10382"/>
                  </a:cubicBezTo>
                  <a:cubicBezTo>
                    <a:pt x="74962" y="8287"/>
                    <a:pt x="77152" y="6477"/>
                    <a:pt x="79534" y="4953"/>
                  </a:cubicBezTo>
                  <a:cubicBezTo>
                    <a:pt x="81915" y="3429"/>
                    <a:pt x="84677" y="2191"/>
                    <a:pt x="87725" y="1333"/>
                  </a:cubicBezTo>
                  <a:cubicBezTo>
                    <a:pt x="90773" y="476"/>
                    <a:pt x="94107" y="0"/>
                    <a:pt x="97917" y="0"/>
                  </a:cubicBezTo>
                  <a:cubicBezTo>
                    <a:pt x="107823" y="0"/>
                    <a:pt x="115538" y="3048"/>
                    <a:pt x="121158" y="9144"/>
                  </a:cubicBezTo>
                  <a:cubicBezTo>
                    <a:pt x="126778" y="15240"/>
                    <a:pt x="129540" y="23622"/>
                    <a:pt x="129540" y="34290"/>
                  </a:cubicBezTo>
                  <a:lnTo>
                    <a:pt x="129540" y="87058"/>
                  </a:lnTo>
                  <a:lnTo>
                    <a:pt x="116872" y="87058"/>
                  </a:lnTo>
                  <a:lnTo>
                    <a:pt x="116872" y="37338"/>
                  </a:lnTo>
                  <a:cubicBezTo>
                    <a:pt x="116872" y="29146"/>
                    <a:pt x="114871" y="22765"/>
                    <a:pt x="110966" y="18288"/>
                  </a:cubicBezTo>
                  <a:cubicBezTo>
                    <a:pt x="107061" y="13811"/>
                    <a:pt x="101632" y="11620"/>
                    <a:pt x="94679" y="11620"/>
                  </a:cubicBezTo>
                  <a:cubicBezTo>
                    <a:pt x="91440" y="11620"/>
                    <a:pt x="88487" y="12192"/>
                    <a:pt x="85630" y="13335"/>
                  </a:cubicBezTo>
                  <a:cubicBezTo>
                    <a:pt x="82772" y="14478"/>
                    <a:pt x="80296" y="16192"/>
                    <a:pt x="78105" y="18478"/>
                  </a:cubicBezTo>
                  <a:cubicBezTo>
                    <a:pt x="76009" y="20764"/>
                    <a:pt x="74295" y="23527"/>
                    <a:pt x="72962" y="26765"/>
                  </a:cubicBezTo>
                  <a:cubicBezTo>
                    <a:pt x="71723" y="30099"/>
                    <a:pt x="71056" y="33814"/>
                    <a:pt x="71056" y="38005"/>
                  </a:cubicBezTo>
                  <a:lnTo>
                    <a:pt x="71056" y="87058"/>
                  </a:lnTo>
                  <a:lnTo>
                    <a:pt x="58483" y="87058"/>
                  </a:lnTo>
                  <a:lnTo>
                    <a:pt x="58483" y="36957"/>
                  </a:lnTo>
                  <a:cubicBezTo>
                    <a:pt x="58483" y="28956"/>
                    <a:pt x="56483" y="22669"/>
                    <a:pt x="52578" y="18288"/>
                  </a:cubicBezTo>
                  <a:cubicBezTo>
                    <a:pt x="48673" y="13811"/>
                    <a:pt x="43339" y="11620"/>
                    <a:pt x="36481" y="11620"/>
                  </a:cubicBezTo>
                  <a:cubicBezTo>
                    <a:pt x="33052" y="11620"/>
                    <a:pt x="29908" y="12287"/>
                    <a:pt x="27051" y="13621"/>
                  </a:cubicBezTo>
                  <a:cubicBezTo>
                    <a:pt x="24193" y="14954"/>
                    <a:pt x="21717" y="16764"/>
                    <a:pt x="19526" y="19240"/>
                  </a:cubicBezTo>
                  <a:cubicBezTo>
                    <a:pt x="17335" y="21622"/>
                    <a:pt x="15716" y="24479"/>
                    <a:pt x="14478" y="27718"/>
                  </a:cubicBezTo>
                  <a:cubicBezTo>
                    <a:pt x="13240" y="30956"/>
                    <a:pt x="12668" y="34576"/>
                    <a:pt x="12668" y="38481"/>
                  </a:cubicBezTo>
                  <a:lnTo>
                    <a:pt x="12668" y="87058"/>
                  </a:lnTo>
                  <a:lnTo>
                    <a:pt x="0" y="87058"/>
                  </a:lnTo>
                  <a:lnTo>
                    <a:pt x="0" y="1714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69D66C4-C9B9-0BB3-759E-D3E8911221C2}"/>
                </a:ext>
              </a:extLst>
            </p:cNvPr>
            <p:cNvSpPr/>
            <p:nvPr/>
          </p:nvSpPr>
          <p:spPr>
            <a:xfrm>
              <a:off x="2651728" y="4558601"/>
              <a:ext cx="85344" cy="86010"/>
            </a:xfrm>
            <a:custGeom>
              <a:avLst/>
              <a:gdLst>
                <a:gd name="connsiteX0" fmla="*/ 95 w 85344"/>
                <a:gd name="connsiteY0" fmla="*/ 0 h 86010"/>
                <a:gd name="connsiteX1" fmla="*/ 14097 w 85344"/>
                <a:gd name="connsiteY1" fmla="*/ 0 h 86010"/>
                <a:gd name="connsiteX2" fmla="*/ 42767 w 85344"/>
                <a:gd name="connsiteY2" fmla="*/ 70771 h 86010"/>
                <a:gd name="connsiteX3" fmla="*/ 71628 w 85344"/>
                <a:gd name="connsiteY3" fmla="*/ 0 h 86010"/>
                <a:gd name="connsiteX4" fmla="*/ 85344 w 85344"/>
                <a:gd name="connsiteY4" fmla="*/ 0 h 86010"/>
                <a:gd name="connsiteX5" fmla="*/ 48196 w 85344"/>
                <a:gd name="connsiteY5" fmla="*/ 86011 h 86010"/>
                <a:gd name="connsiteX6" fmla="*/ 36957 w 85344"/>
                <a:gd name="connsiteY6" fmla="*/ 86011 h 86010"/>
                <a:gd name="connsiteX7" fmla="*/ 0 w 85344"/>
                <a:gd name="connsiteY7" fmla="*/ 0 h 86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44" h="86010">
                  <a:moveTo>
                    <a:pt x="95" y="0"/>
                  </a:moveTo>
                  <a:lnTo>
                    <a:pt x="14097" y="0"/>
                  </a:lnTo>
                  <a:lnTo>
                    <a:pt x="42767" y="70771"/>
                  </a:lnTo>
                  <a:lnTo>
                    <a:pt x="71628" y="0"/>
                  </a:lnTo>
                  <a:lnTo>
                    <a:pt x="85344" y="0"/>
                  </a:lnTo>
                  <a:lnTo>
                    <a:pt x="48196" y="86011"/>
                  </a:lnTo>
                  <a:lnTo>
                    <a:pt x="36957" y="860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70CECBF-7E8C-EAD4-F127-95DC8808E365}"/>
                </a:ext>
              </a:extLst>
            </p:cNvPr>
            <p:cNvSpPr/>
            <p:nvPr/>
          </p:nvSpPr>
          <p:spPr>
            <a:xfrm>
              <a:off x="2757455" y="4525930"/>
              <a:ext cx="14478" cy="118014"/>
            </a:xfrm>
            <a:custGeom>
              <a:avLst/>
              <a:gdLst>
                <a:gd name="connsiteX0" fmla="*/ 0 w 14478"/>
                <a:gd name="connsiteY0" fmla="*/ 0 h 118014"/>
                <a:gd name="connsiteX1" fmla="*/ 14478 w 14478"/>
                <a:gd name="connsiteY1" fmla="*/ 0 h 118014"/>
                <a:gd name="connsiteX2" fmla="*/ 14478 w 14478"/>
                <a:gd name="connsiteY2" fmla="*/ 14002 h 118014"/>
                <a:gd name="connsiteX3" fmla="*/ 0 w 14478"/>
                <a:gd name="connsiteY3" fmla="*/ 14002 h 118014"/>
                <a:gd name="connsiteX4" fmla="*/ 0 w 14478"/>
                <a:gd name="connsiteY4" fmla="*/ 0 h 118014"/>
                <a:gd name="connsiteX5" fmla="*/ 857 w 14478"/>
                <a:gd name="connsiteY5" fmla="*/ 32671 h 118014"/>
                <a:gd name="connsiteX6" fmla="*/ 13525 w 14478"/>
                <a:gd name="connsiteY6" fmla="*/ 32671 h 118014"/>
                <a:gd name="connsiteX7" fmla="*/ 13525 w 14478"/>
                <a:gd name="connsiteY7" fmla="*/ 118015 h 118014"/>
                <a:gd name="connsiteX8" fmla="*/ 857 w 14478"/>
                <a:gd name="connsiteY8" fmla="*/ 118015 h 118014"/>
                <a:gd name="connsiteX9" fmla="*/ 857 w 14478"/>
                <a:gd name="connsiteY9" fmla="*/ 32671 h 11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8" h="118014">
                  <a:moveTo>
                    <a:pt x="0" y="0"/>
                  </a:moveTo>
                  <a:lnTo>
                    <a:pt x="14478" y="0"/>
                  </a:lnTo>
                  <a:lnTo>
                    <a:pt x="14478" y="14002"/>
                  </a:lnTo>
                  <a:lnTo>
                    <a:pt x="0" y="14002"/>
                  </a:lnTo>
                  <a:lnTo>
                    <a:pt x="0" y="0"/>
                  </a:lnTo>
                  <a:close/>
                  <a:moveTo>
                    <a:pt x="857" y="32671"/>
                  </a:moveTo>
                  <a:lnTo>
                    <a:pt x="13525" y="32671"/>
                  </a:lnTo>
                  <a:lnTo>
                    <a:pt x="13525" y="118015"/>
                  </a:lnTo>
                  <a:lnTo>
                    <a:pt x="857" y="118015"/>
                  </a:lnTo>
                  <a:lnTo>
                    <a:pt x="857" y="32671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247EBF0-2F93-0EC9-E240-C1D6C7FFA523}"/>
                </a:ext>
              </a:extLst>
            </p:cNvPr>
            <p:cNvSpPr/>
            <p:nvPr/>
          </p:nvSpPr>
          <p:spPr>
            <a:xfrm>
              <a:off x="2795555" y="4523549"/>
              <a:ext cx="86105" cy="122300"/>
            </a:xfrm>
            <a:custGeom>
              <a:avLst/>
              <a:gdLst>
                <a:gd name="connsiteX0" fmla="*/ 40767 w 86105"/>
                <a:gd name="connsiteY0" fmla="*/ 122206 h 122300"/>
                <a:gd name="connsiteX1" fmla="*/ 25717 w 86105"/>
                <a:gd name="connsiteY1" fmla="*/ 119253 h 122300"/>
                <a:gd name="connsiteX2" fmla="*/ 12668 w 86105"/>
                <a:gd name="connsiteY2" fmla="*/ 110585 h 122300"/>
                <a:gd name="connsiteX3" fmla="*/ 3429 w 86105"/>
                <a:gd name="connsiteY3" fmla="*/ 96679 h 122300"/>
                <a:gd name="connsiteX4" fmla="*/ 0 w 86105"/>
                <a:gd name="connsiteY4" fmla="*/ 77914 h 122300"/>
                <a:gd name="connsiteX5" fmla="*/ 0 w 86105"/>
                <a:gd name="connsiteY5" fmla="*/ 77629 h 122300"/>
                <a:gd name="connsiteX6" fmla="*/ 3429 w 86105"/>
                <a:gd name="connsiteY6" fmla="*/ 58960 h 122300"/>
                <a:gd name="connsiteX7" fmla="*/ 12668 w 86105"/>
                <a:gd name="connsiteY7" fmla="*/ 45053 h 122300"/>
                <a:gd name="connsiteX8" fmla="*/ 25717 w 86105"/>
                <a:gd name="connsiteY8" fmla="*/ 36290 h 122300"/>
                <a:gd name="connsiteX9" fmla="*/ 40767 w 86105"/>
                <a:gd name="connsiteY9" fmla="*/ 33242 h 122300"/>
                <a:gd name="connsiteX10" fmla="*/ 51625 w 86105"/>
                <a:gd name="connsiteY10" fmla="*/ 34766 h 122300"/>
                <a:gd name="connsiteX11" fmla="*/ 60579 w 86105"/>
                <a:gd name="connsiteY11" fmla="*/ 38767 h 122300"/>
                <a:gd name="connsiteX12" fmla="*/ 67723 w 86105"/>
                <a:gd name="connsiteY12" fmla="*/ 44577 h 122300"/>
                <a:gd name="connsiteX13" fmla="*/ 73438 w 86105"/>
                <a:gd name="connsiteY13" fmla="*/ 51530 h 122300"/>
                <a:gd name="connsiteX14" fmla="*/ 73438 w 86105"/>
                <a:gd name="connsiteY14" fmla="*/ 0 h 122300"/>
                <a:gd name="connsiteX15" fmla="*/ 86106 w 86105"/>
                <a:gd name="connsiteY15" fmla="*/ 0 h 122300"/>
                <a:gd name="connsiteX16" fmla="*/ 86106 w 86105"/>
                <a:gd name="connsiteY16" fmla="*/ 120491 h 122300"/>
                <a:gd name="connsiteX17" fmla="*/ 73438 w 86105"/>
                <a:gd name="connsiteY17" fmla="*/ 120491 h 122300"/>
                <a:gd name="connsiteX18" fmla="*/ 73438 w 86105"/>
                <a:gd name="connsiteY18" fmla="*/ 103346 h 122300"/>
                <a:gd name="connsiteX19" fmla="*/ 67532 w 86105"/>
                <a:gd name="connsiteY19" fmla="*/ 110585 h 122300"/>
                <a:gd name="connsiteX20" fmla="*/ 60388 w 86105"/>
                <a:gd name="connsiteY20" fmla="*/ 116681 h 122300"/>
                <a:gd name="connsiteX21" fmla="*/ 51530 w 86105"/>
                <a:gd name="connsiteY21" fmla="*/ 120777 h 122300"/>
                <a:gd name="connsiteX22" fmla="*/ 40767 w 86105"/>
                <a:gd name="connsiteY22" fmla="*/ 122301 h 122300"/>
                <a:gd name="connsiteX23" fmla="*/ 43053 w 86105"/>
                <a:gd name="connsiteY23" fmla="*/ 110776 h 122300"/>
                <a:gd name="connsiteX24" fmla="*/ 54483 w 86105"/>
                <a:gd name="connsiteY24" fmla="*/ 108395 h 122300"/>
                <a:gd name="connsiteX25" fmla="*/ 64389 w 86105"/>
                <a:gd name="connsiteY25" fmla="*/ 101632 h 122300"/>
                <a:gd name="connsiteX26" fmla="*/ 71342 w 86105"/>
                <a:gd name="connsiteY26" fmla="*/ 91250 h 122300"/>
                <a:gd name="connsiteX27" fmla="*/ 73914 w 86105"/>
                <a:gd name="connsiteY27" fmla="*/ 77819 h 122300"/>
                <a:gd name="connsiteX28" fmla="*/ 73914 w 86105"/>
                <a:gd name="connsiteY28" fmla="*/ 77533 h 122300"/>
                <a:gd name="connsiteX29" fmla="*/ 71342 w 86105"/>
                <a:gd name="connsiteY29" fmla="*/ 64103 h 122300"/>
                <a:gd name="connsiteX30" fmla="*/ 64389 w 86105"/>
                <a:gd name="connsiteY30" fmla="*/ 53816 h 122300"/>
                <a:gd name="connsiteX31" fmla="*/ 54483 w 86105"/>
                <a:gd name="connsiteY31" fmla="*/ 47149 h 122300"/>
                <a:gd name="connsiteX32" fmla="*/ 43053 w 86105"/>
                <a:gd name="connsiteY32" fmla="*/ 44767 h 122300"/>
                <a:gd name="connsiteX33" fmla="*/ 31337 w 86105"/>
                <a:gd name="connsiteY33" fmla="*/ 46958 h 122300"/>
                <a:gd name="connsiteX34" fmla="*/ 21812 w 86105"/>
                <a:gd name="connsiteY34" fmla="*/ 53435 h 122300"/>
                <a:gd name="connsiteX35" fmla="*/ 15335 w 86105"/>
                <a:gd name="connsiteY35" fmla="*/ 63722 h 122300"/>
                <a:gd name="connsiteX36" fmla="*/ 12954 w 86105"/>
                <a:gd name="connsiteY36" fmla="*/ 77629 h 122300"/>
                <a:gd name="connsiteX37" fmla="*/ 12954 w 86105"/>
                <a:gd name="connsiteY37" fmla="*/ 77914 h 122300"/>
                <a:gd name="connsiteX38" fmla="*/ 15335 w 86105"/>
                <a:gd name="connsiteY38" fmla="*/ 91630 h 122300"/>
                <a:gd name="connsiteX39" fmla="*/ 21812 w 86105"/>
                <a:gd name="connsiteY39" fmla="*/ 102013 h 122300"/>
                <a:gd name="connsiteX40" fmla="*/ 31337 w 86105"/>
                <a:gd name="connsiteY40" fmla="*/ 108585 h 122300"/>
                <a:gd name="connsiteX41" fmla="*/ 42863 w 86105"/>
                <a:gd name="connsiteY41" fmla="*/ 110871 h 1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6105" h="122300">
                  <a:moveTo>
                    <a:pt x="40767" y="122206"/>
                  </a:moveTo>
                  <a:cubicBezTo>
                    <a:pt x="35624" y="122206"/>
                    <a:pt x="30575" y="121253"/>
                    <a:pt x="25717" y="119253"/>
                  </a:cubicBezTo>
                  <a:cubicBezTo>
                    <a:pt x="20860" y="117253"/>
                    <a:pt x="16574" y="114395"/>
                    <a:pt x="12668" y="110585"/>
                  </a:cubicBezTo>
                  <a:cubicBezTo>
                    <a:pt x="8763" y="106775"/>
                    <a:pt x="5715" y="102203"/>
                    <a:pt x="3429" y="96679"/>
                  </a:cubicBezTo>
                  <a:cubicBezTo>
                    <a:pt x="1143" y="91250"/>
                    <a:pt x="0" y="84963"/>
                    <a:pt x="0" y="77914"/>
                  </a:cubicBezTo>
                  <a:lnTo>
                    <a:pt x="0" y="77629"/>
                  </a:lnTo>
                  <a:cubicBezTo>
                    <a:pt x="0" y="70675"/>
                    <a:pt x="1143" y="64484"/>
                    <a:pt x="3429" y="58960"/>
                  </a:cubicBezTo>
                  <a:cubicBezTo>
                    <a:pt x="5715" y="53435"/>
                    <a:pt x="8858" y="48768"/>
                    <a:pt x="12668" y="45053"/>
                  </a:cubicBezTo>
                  <a:cubicBezTo>
                    <a:pt x="16478" y="41243"/>
                    <a:pt x="20860" y="38291"/>
                    <a:pt x="25717" y="36290"/>
                  </a:cubicBezTo>
                  <a:cubicBezTo>
                    <a:pt x="30575" y="34290"/>
                    <a:pt x="35528" y="33242"/>
                    <a:pt x="40767" y="33242"/>
                  </a:cubicBezTo>
                  <a:cubicBezTo>
                    <a:pt x="44767" y="33242"/>
                    <a:pt x="48387" y="33718"/>
                    <a:pt x="51625" y="34766"/>
                  </a:cubicBezTo>
                  <a:cubicBezTo>
                    <a:pt x="54959" y="35719"/>
                    <a:pt x="57912" y="37052"/>
                    <a:pt x="60579" y="38767"/>
                  </a:cubicBezTo>
                  <a:cubicBezTo>
                    <a:pt x="63246" y="40386"/>
                    <a:pt x="65627" y="42386"/>
                    <a:pt x="67723" y="44577"/>
                  </a:cubicBezTo>
                  <a:cubicBezTo>
                    <a:pt x="69818" y="46768"/>
                    <a:pt x="71723" y="49054"/>
                    <a:pt x="73438" y="51530"/>
                  </a:cubicBezTo>
                  <a:lnTo>
                    <a:pt x="73438" y="0"/>
                  </a:lnTo>
                  <a:lnTo>
                    <a:pt x="86106" y="0"/>
                  </a:lnTo>
                  <a:lnTo>
                    <a:pt x="86106" y="120491"/>
                  </a:lnTo>
                  <a:lnTo>
                    <a:pt x="73438" y="120491"/>
                  </a:lnTo>
                  <a:lnTo>
                    <a:pt x="73438" y="103346"/>
                  </a:lnTo>
                  <a:cubicBezTo>
                    <a:pt x="71628" y="105918"/>
                    <a:pt x="69723" y="108299"/>
                    <a:pt x="67532" y="110585"/>
                  </a:cubicBezTo>
                  <a:cubicBezTo>
                    <a:pt x="65342" y="112871"/>
                    <a:pt x="62960" y="114967"/>
                    <a:pt x="60388" y="116681"/>
                  </a:cubicBezTo>
                  <a:cubicBezTo>
                    <a:pt x="57817" y="118396"/>
                    <a:pt x="54769" y="119825"/>
                    <a:pt x="51530" y="120777"/>
                  </a:cubicBezTo>
                  <a:cubicBezTo>
                    <a:pt x="48292" y="121729"/>
                    <a:pt x="44672" y="122301"/>
                    <a:pt x="40767" y="122301"/>
                  </a:cubicBezTo>
                  <a:close/>
                  <a:moveTo>
                    <a:pt x="43053" y="110776"/>
                  </a:moveTo>
                  <a:cubicBezTo>
                    <a:pt x="47054" y="110776"/>
                    <a:pt x="50863" y="110014"/>
                    <a:pt x="54483" y="108395"/>
                  </a:cubicBezTo>
                  <a:cubicBezTo>
                    <a:pt x="58198" y="106775"/>
                    <a:pt x="61436" y="104584"/>
                    <a:pt x="64389" y="101632"/>
                  </a:cubicBezTo>
                  <a:cubicBezTo>
                    <a:pt x="67342" y="98679"/>
                    <a:pt x="69628" y="95250"/>
                    <a:pt x="71342" y="91250"/>
                  </a:cubicBezTo>
                  <a:cubicBezTo>
                    <a:pt x="73057" y="87249"/>
                    <a:pt x="73914" y="82772"/>
                    <a:pt x="73914" y="77819"/>
                  </a:cubicBezTo>
                  <a:lnTo>
                    <a:pt x="73914" y="77533"/>
                  </a:lnTo>
                  <a:cubicBezTo>
                    <a:pt x="73914" y="72580"/>
                    <a:pt x="73057" y="68104"/>
                    <a:pt x="71342" y="64103"/>
                  </a:cubicBezTo>
                  <a:cubicBezTo>
                    <a:pt x="69628" y="60103"/>
                    <a:pt x="67342" y="56674"/>
                    <a:pt x="64389" y="53816"/>
                  </a:cubicBezTo>
                  <a:cubicBezTo>
                    <a:pt x="61436" y="50959"/>
                    <a:pt x="58198" y="48768"/>
                    <a:pt x="54483" y="47149"/>
                  </a:cubicBezTo>
                  <a:cubicBezTo>
                    <a:pt x="50768" y="45529"/>
                    <a:pt x="46958" y="44767"/>
                    <a:pt x="43053" y="44767"/>
                  </a:cubicBezTo>
                  <a:cubicBezTo>
                    <a:pt x="38862" y="44767"/>
                    <a:pt x="34957" y="45529"/>
                    <a:pt x="31337" y="46958"/>
                  </a:cubicBezTo>
                  <a:cubicBezTo>
                    <a:pt x="27718" y="48482"/>
                    <a:pt x="24575" y="50578"/>
                    <a:pt x="21812" y="53435"/>
                  </a:cubicBezTo>
                  <a:cubicBezTo>
                    <a:pt x="19145" y="56197"/>
                    <a:pt x="16954" y="59722"/>
                    <a:pt x="15335" y="63722"/>
                  </a:cubicBezTo>
                  <a:cubicBezTo>
                    <a:pt x="13716" y="67818"/>
                    <a:pt x="12954" y="72390"/>
                    <a:pt x="12954" y="77629"/>
                  </a:cubicBezTo>
                  <a:lnTo>
                    <a:pt x="12954" y="77914"/>
                  </a:lnTo>
                  <a:cubicBezTo>
                    <a:pt x="12954" y="82963"/>
                    <a:pt x="13716" y="87535"/>
                    <a:pt x="15335" y="91630"/>
                  </a:cubicBezTo>
                  <a:cubicBezTo>
                    <a:pt x="16954" y="95726"/>
                    <a:pt x="19145" y="99155"/>
                    <a:pt x="21812" y="102013"/>
                  </a:cubicBezTo>
                  <a:cubicBezTo>
                    <a:pt x="24479" y="104870"/>
                    <a:pt x="27718" y="107061"/>
                    <a:pt x="31337" y="108585"/>
                  </a:cubicBezTo>
                  <a:cubicBezTo>
                    <a:pt x="34957" y="110109"/>
                    <a:pt x="38862" y="110871"/>
                    <a:pt x="42863" y="110871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11BDE59-D83D-D02C-4D1D-7E5B032014E3}"/>
                </a:ext>
              </a:extLst>
            </p:cNvPr>
            <p:cNvSpPr/>
            <p:nvPr/>
          </p:nvSpPr>
          <p:spPr>
            <a:xfrm>
              <a:off x="2903759" y="4557267"/>
              <a:ext cx="75152" cy="88582"/>
            </a:xfrm>
            <a:custGeom>
              <a:avLst/>
              <a:gdLst>
                <a:gd name="connsiteX0" fmla="*/ 31813 w 75152"/>
                <a:gd name="connsiteY0" fmla="*/ 88487 h 88582"/>
                <a:gd name="connsiteX1" fmla="*/ 20098 w 75152"/>
                <a:gd name="connsiteY1" fmla="*/ 86868 h 88582"/>
                <a:gd name="connsiteX2" fmla="*/ 9906 w 75152"/>
                <a:gd name="connsiteY2" fmla="*/ 81820 h 88582"/>
                <a:gd name="connsiteX3" fmla="*/ 2762 w 75152"/>
                <a:gd name="connsiteY3" fmla="*/ 73438 h 88582"/>
                <a:gd name="connsiteX4" fmla="*/ 0 w 75152"/>
                <a:gd name="connsiteY4" fmla="*/ 61913 h 88582"/>
                <a:gd name="connsiteX5" fmla="*/ 0 w 75152"/>
                <a:gd name="connsiteY5" fmla="*/ 61532 h 88582"/>
                <a:gd name="connsiteX6" fmla="*/ 2667 w 75152"/>
                <a:gd name="connsiteY6" fmla="*/ 49435 h 88582"/>
                <a:gd name="connsiteX7" fmla="*/ 10192 w 75152"/>
                <a:gd name="connsiteY7" fmla="*/ 40767 h 88582"/>
                <a:gd name="connsiteX8" fmla="*/ 21717 w 75152"/>
                <a:gd name="connsiteY8" fmla="*/ 35528 h 88582"/>
                <a:gd name="connsiteX9" fmla="*/ 36481 w 75152"/>
                <a:gd name="connsiteY9" fmla="*/ 33719 h 88582"/>
                <a:gd name="connsiteX10" fmla="*/ 50768 w 75152"/>
                <a:gd name="connsiteY10" fmla="*/ 34671 h 88582"/>
                <a:gd name="connsiteX11" fmla="*/ 62579 w 75152"/>
                <a:gd name="connsiteY11" fmla="*/ 37338 h 88582"/>
                <a:gd name="connsiteX12" fmla="*/ 62579 w 75152"/>
                <a:gd name="connsiteY12" fmla="*/ 34671 h 88582"/>
                <a:gd name="connsiteX13" fmla="*/ 56007 w 75152"/>
                <a:gd name="connsiteY13" fmla="*/ 17526 h 88582"/>
                <a:gd name="connsiteX14" fmla="*/ 37338 w 75152"/>
                <a:gd name="connsiteY14" fmla="*/ 11716 h 88582"/>
                <a:gd name="connsiteX15" fmla="*/ 23527 w 75152"/>
                <a:gd name="connsiteY15" fmla="*/ 13335 h 88582"/>
                <a:gd name="connsiteX16" fmla="*/ 11430 w 75152"/>
                <a:gd name="connsiteY16" fmla="*/ 17812 h 88582"/>
                <a:gd name="connsiteX17" fmla="*/ 7620 w 75152"/>
                <a:gd name="connsiteY17" fmla="*/ 7334 h 88582"/>
                <a:gd name="connsiteX18" fmla="*/ 22003 w 75152"/>
                <a:gd name="connsiteY18" fmla="*/ 2000 h 88582"/>
                <a:gd name="connsiteX19" fmla="*/ 38671 w 75152"/>
                <a:gd name="connsiteY19" fmla="*/ 0 h 88582"/>
                <a:gd name="connsiteX20" fmla="*/ 66199 w 75152"/>
                <a:gd name="connsiteY20" fmla="*/ 9430 h 88582"/>
                <a:gd name="connsiteX21" fmla="*/ 75152 w 75152"/>
                <a:gd name="connsiteY21" fmla="*/ 34481 h 88582"/>
                <a:gd name="connsiteX22" fmla="*/ 75152 w 75152"/>
                <a:gd name="connsiteY22" fmla="*/ 86678 h 88582"/>
                <a:gd name="connsiteX23" fmla="*/ 62579 w 75152"/>
                <a:gd name="connsiteY23" fmla="*/ 86678 h 88582"/>
                <a:gd name="connsiteX24" fmla="*/ 62579 w 75152"/>
                <a:gd name="connsiteY24" fmla="*/ 74009 h 88582"/>
                <a:gd name="connsiteX25" fmla="*/ 50578 w 75152"/>
                <a:gd name="connsiteY25" fmla="*/ 84201 h 88582"/>
                <a:gd name="connsiteX26" fmla="*/ 31813 w 75152"/>
                <a:gd name="connsiteY26" fmla="*/ 88583 h 88582"/>
                <a:gd name="connsiteX27" fmla="*/ 34385 w 75152"/>
                <a:gd name="connsiteY27" fmla="*/ 78105 h 88582"/>
                <a:gd name="connsiteX28" fmla="*/ 45434 w 75152"/>
                <a:gd name="connsiteY28" fmla="*/ 76486 h 88582"/>
                <a:gd name="connsiteX29" fmla="*/ 54388 w 75152"/>
                <a:gd name="connsiteY29" fmla="*/ 71819 h 88582"/>
                <a:gd name="connsiteX30" fmla="*/ 60484 w 75152"/>
                <a:gd name="connsiteY30" fmla="*/ 64579 h 88582"/>
                <a:gd name="connsiteX31" fmla="*/ 62675 w 75152"/>
                <a:gd name="connsiteY31" fmla="*/ 55340 h 88582"/>
                <a:gd name="connsiteX32" fmla="*/ 62675 w 75152"/>
                <a:gd name="connsiteY32" fmla="*/ 47435 h 88582"/>
                <a:gd name="connsiteX33" fmla="*/ 51816 w 75152"/>
                <a:gd name="connsiteY33" fmla="*/ 44958 h 88582"/>
                <a:gd name="connsiteX34" fmla="*/ 37814 w 75152"/>
                <a:gd name="connsiteY34" fmla="*/ 43815 h 88582"/>
                <a:gd name="connsiteX35" fmla="*/ 19431 w 75152"/>
                <a:gd name="connsiteY35" fmla="*/ 48482 h 88582"/>
                <a:gd name="connsiteX36" fmla="*/ 12954 w 75152"/>
                <a:gd name="connsiteY36" fmla="*/ 60865 h 88582"/>
                <a:gd name="connsiteX37" fmla="*/ 12954 w 75152"/>
                <a:gd name="connsiteY37" fmla="*/ 61246 h 88582"/>
                <a:gd name="connsiteX38" fmla="*/ 14668 w 75152"/>
                <a:gd name="connsiteY38" fmla="*/ 68390 h 88582"/>
                <a:gd name="connsiteX39" fmla="*/ 19336 w 75152"/>
                <a:gd name="connsiteY39" fmla="*/ 73724 h 88582"/>
                <a:gd name="connsiteX40" fmla="*/ 26194 w 75152"/>
                <a:gd name="connsiteY40" fmla="*/ 76962 h 88582"/>
                <a:gd name="connsiteX41" fmla="*/ 34385 w 75152"/>
                <a:gd name="connsiteY41" fmla="*/ 78105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5152" h="88582">
                  <a:moveTo>
                    <a:pt x="31813" y="88487"/>
                  </a:moveTo>
                  <a:cubicBezTo>
                    <a:pt x="27813" y="88487"/>
                    <a:pt x="23908" y="87916"/>
                    <a:pt x="20098" y="86868"/>
                  </a:cubicBezTo>
                  <a:cubicBezTo>
                    <a:pt x="16288" y="85820"/>
                    <a:pt x="12859" y="84106"/>
                    <a:pt x="9906" y="81820"/>
                  </a:cubicBezTo>
                  <a:cubicBezTo>
                    <a:pt x="6953" y="79534"/>
                    <a:pt x="4572" y="76771"/>
                    <a:pt x="2762" y="73438"/>
                  </a:cubicBezTo>
                  <a:cubicBezTo>
                    <a:pt x="952" y="70104"/>
                    <a:pt x="0" y="66294"/>
                    <a:pt x="0" y="61913"/>
                  </a:cubicBezTo>
                  <a:lnTo>
                    <a:pt x="0" y="61532"/>
                  </a:lnTo>
                  <a:cubicBezTo>
                    <a:pt x="0" y="56864"/>
                    <a:pt x="857" y="52864"/>
                    <a:pt x="2667" y="49435"/>
                  </a:cubicBezTo>
                  <a:cubicBezTo>
                    <a:pt x="4477" y="46006"/>
                    <a:pt x="6953" y="43053"/>
                    <a:pt x="10192" y="40767"/>
                  </a:cubicBezTo>
                  <a:cubicBezTo>
                    <a:pt x="13430" y="38481"/>
                    <a:pt x="17335" y="36671"/>
                    <a:pt x="21717" y="35528"/>
                  </a:cubicBezTo>
                  <a:cubicBezTo>
                    <a:pt x="26098" y="34385"/>
                    <a:pt x="31147" y="33719"/>
                    <a:pt x="36481" y="33719"/>
                  </a:cubicBezTo>
                  <a:cubicBezTo>
                    <a:pt x="41815" y="33719"/>
                    <a:pt x="46768" y="34004"/>
                    <a:pt x="50768" y="34671"/>
                  </a:cubicBezTo>
                  <a:cubicBezTo>
                    <a:pt x="54769" y="35338"/>
                    <a:pt x="58674" y="36195"/>
                    <a:pt x="62579" y="37338"/>
                  </a:cubicBezTo>
                  <a:lnTo>
                    <a:pt x="62579" y="34671"/>
                  </a:lnTo>
                  <a:cubicBezTo>
                    <a:pt x="62579" y="27146"/>
                    <a:pt x="60388" y="21431"/>
                    <a:pt x="56007" y="17526"/>
                  </a:cubicBezTo>
                  <a:cubicBezTo>
                    <a:pt x="51625" y="13621"/>
                    <a:pt x="45339" y="11716"/>
                    <a:pt x="37338" y="11716"/>
                  </a:cubicBezTo>
                  <a:cubicBezTo>
                    <a:pt x="32290" y="11716"/>
                    <a:pt x="27718" y="12287"/>
                    <a:pt x="23527" y="13335"/>
                  </a:cubicBezTo>
                  <a:cubicBezTo>
                    <a:pt x="19431" y="14478"/>
                    <a:pt x="15335" y="15907"/>
                    <a:pt x="11430" y="17812"/>
                  </a:cubicBezTo>
                  <a:lnTo>
                    <a:pt x="7620" y="7334"/>
                  </a:lnTo>
                  <a:cubicBezTo>
                    <a:pt x="12383" y="5144"/>
                    <a:pt x="17145" y="3334"/>
                    <a:pt x="22003" y="2000"/>
                  </a:cubicBezTo>
                  <a:cubicBezTo>
                    <a:pt x="26860" y="667"/>
                    <a:pt x="32385" y="0"/>
                    <a:pt x="38671" y="0"/>
                  </a:cubicBezTo>
                  <a:cubicBezTo>
                    <a:pt x="50768" y="0"/>
                    <a:pt x="60008" y="3143"/>
                    <a:pt x="66199" y="9430"/>
                  </a:cubicBezTo>
                  <a:cubicBezTo>
                    <a:pt x="72104" y="15335"/>
                    <a:pt x="75152" y="23717"/>
                    <a:pt x="75152" y="34481"/>
                  </a:cubicBezTo>
                  <a:lnTo>
                    <a:pt x="75152" y="86678"/>
                  </a:lnTo>
                  <a:lnTo>
                    <a:pt x="62579" y="86678"/>
                  </a:lnTo>
                  <a:lnTo>
                    <a:pt x="62579" y="74009"/>
                  </a:lnTo>
                  <a:cubicBezTo>
                    <a:pt x="59626" y="77819"/>
                    <a:pt x="55626" y="81248"/>
                    <a:pt x="50578" y="84201"/>
                  </a:cubicBezTo>
                  <a:cubicBezTo>
                    <a:pt x="45529" y="87154"/>
                    <a:pt x="39338" y="88583"/>
                    <a:pt x="31813" y="88583"/>
                  </a:cubicBezTo>
                  <a:close/>
                  <a:moveTo>
                    <a:pt x="34385" y="78105"/>
                  </a:moveTo>
                  <a:cubicBezTo>
                    <a:pt x="38291" y="78105"/>
                    <a:pt x="42005" y="77533"/>
                    <a:pt x="45434" y="76486"/>
                  </a:cubicBezTo>
                  <a:cubicBezTo>
                    <a:pt x="48863" y="75343"/>
                    <a:pt x="51816" y="73819"/>
                    <a:pt x="54388" y="71819"/>
                  </a:cubicBezTo>
                  <a:cubicBezTo>
                    <a:pt x="56959" y="69818"/>
                    <a:pt x="58960" y="67342"/>
                    <a:pt x="60484" y="64579"/>
                  </a:cubicBezTo>
                  <a:cubicBezTo>
                    <a:pt x="62008" y="61817"/>
                    <a:pt x="62675" y="58674"/>
                    <a:pt x="62675" y="55340"/>
                  </a:cubicBezTo>
                  <a:lnTo>
                    <a:pt x="62675" y="47435"/>
                  </a:lnTo>
                  <a:cubicBezTo>
                    <a:pt x="59531" y="46577"/>
                    <a:pt x="55912" y="45720"/>
                    <a:pt x="51816" y="44958"/>
                  </a:cubicBezTo>
                  <a:cubicBezTo>
                    <a:pt x="47720" y="44196"/>
                    <a:pt x="43053" y="43815"/>
                    <a:pt x="37814" y="43815"/>
                  </a:cubicBezTo>
                  <a:cubicBezTo>
                    <a:pt x="29908" y="43815"/>
                    <a:pt x="23813" y="45339"/>
                    <a:pt x="19431" y="48482"/>
                  </a:cubicBezTo>
                  <a:cubicBezTo>
                    <a:pt x="15050" y="51625"/>
                    <a:pt x="12954" y="55721"/>
                    <a:pt x="12954" y="60865"/>
                  </a:cubicBezTo>
                  <a:lnTo>
                    <a:pt x="12954" y="61246"/>
                  </a:lnTo>
                  <a:cubicBezTo>
                    <a:pt x="12954" y="63913"/>
                    <a:pt x="13525" y="66294"/>
                    <a:pt x="14668" y="68390"/>
                  </a:cubicBezTo>
                  <a:cubicBezTo>
                    <a:pt x="15812" y="70485"/>
                    <a:pt x="17335" y="72295"/>
                    <a:pt x="19336" y="73724"/>
                  </a:cubicBezTo>
                  <a:cubicBezTo>
                    <a:pt x="21336" y="75152"/>
                    <a:pt x="23622" y="76200"/>
                    <a:pt x="26194" y="76962"/>
                  </a:cubicBezTo>
                  <a:cubicBezTo>
                    <a:pt x="28766" y="77724"/>
                    <a:pt x="31528" y="78105"/>
                    <a:pt x="34385" y="78105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FC16007-564D-9630-971F-15A8DB5F6B5F}"/>
                </a:ext>
              </a:extLst>
            </p:cNvPr>
            <p:cNvSpPr/>
            <p:nvPr/>
          </p:nvSpPr>
          <p:spPr>
            <a:xfrm>
              <a:off x="2998533" y="4557267"/>
              <a:ext cx="65722" cy="88582"/>
            </a:xfrm>
            <a:custGeom>
              <a:avLst/>
              <a:gdLst>
                <a:gd name="connsiteX0" fmla="*/ 35338 w 65722"/>
                <a:gd name="connsiteY0" fmla="*/ 88297 h 88582"/>
                <a:gd name="connsiteX1" fmla="*/ 16669 w 65722"/>
                <a:gd name="connsiteY1" fmla="*/ 84963 h 88582"/>
                <a:gd name="connsiteX2" fmla="*/ 0 w 65722"/>
                <a:gd name="connsiteY2" fmla="*/ 75819 h 88582"/>
                <a:gd name="connsiteX3" fmla="*/ 6477 w 65722"/>
                <a:gd name="connsiteY3" fmla="*/ 66770 h 88582"/>
                <a:gd name="connsiteX4" fmla="*/ 20955 w 65722"/>
                <a:gd name="connsiteY4" fmla="*/ 74867 h 88582"/>
                <a:gd name="connsiteX5" fmla="*/ 36004 w 65722"/>
                <a:gd name="connsiteY5" fmla="*/ 77629 h 88582"/>
                <a:gd name="connsiteX6" fmla="*/ 48673 w 65722"/>
                <a:gd name="connsiteY6" fmla="*/ 74009 h 88582"/>
                <a:gd name="connsiteX7" fmla="*/ 53626 w 65722"/>
                <a:gd name="connsiteY7" fmla="*/ 64103 h 88582"/>
                <a:gd name="connsiteX8" fmla="*/ 53626 w 65722"/>
                <a:gd name="connsiteY8" fmla="*/ 63818 h 88582"/>
                <a:gd name="connsiteX9" fmla="*/ 51911 w 65722"/>
                <a:gd name="connsiteY9" fmla="*/ 58388 h 88582"/>
                <a:gd name="connsiteX10" fmla="*/ 47244 w 65722"/>
                <a:gd name="connsiteY10" fmla="*/ 54388 h 88582"/>
                <a:gd name="connsiteX11" fmla="*/ 40386 w 65722"/>
                <a:gd name="connsiteY11" fmla="*/ 51340 h 88582"/>
                <a:gd name="connsiteX12" fmla="*/ 32385 w 65722"/>
                <a:gd name="connsiteY12" fmla="*/ 48863 h 88582"/>
                <a:gd name="connsiteX13" fmla="*/ 22384 w 65722"/>
                <a:gd name="connsiteY13" fmla="*/ 45625 h 88582"/>
                <a:gd name="connsiteX14" fmla="*/ 13335 w 65722"/>
                <a:gd name="connsiteY14" fmla="*/ 41243 h 88582"/>
                <a:gd name="connsiteX15" fmla="*/ 6763 w 65722"/>
                <a:gd name="connsiteY15" fmla="*/ 34671 h 88582"/>
                <a:gd name="connsiteX16" fmla="*/ 4191 w 65722"/>
                <a:gd name="connsiteY16" fmla="*/ 24765 h 88582"/>
                <a:gd name="connsiteX17" fmla="*/ 4191 w 65722"/>
                <a:gd name="connsiteY17" fmla="*/ 24384 h 88582"/>
                <a:gd name="connsiteX18" fmla="*/ 6287 w 65722"/>
                <a:gd name="connsiteY18" fmla="*/ 14383 h 88582"/>
                <a:gd name="connsiteX19" fmla="*/ 12287 w 65722"/>
                <a:gd name="connsiteY19" fmla="*/ 6668 h 88582"/>
                <a:gd name="connsiteX20" fmla="*/ 21526 w 65722"/>
                <a:gd name="connsiteY20" fmla="*/ 1715 h 88582"/>
                <a:gd name="connsiteX21" fmla="*/ 33147 w 65722"/>
                <a:gd name="connsiteY21" fmla="*/ 0 h 88582"/>
                <a:gd name="connsiteX22" fmla="*/ 49149 w 65722"/>
                <a:gd name="connsiteY22" fmla="*/ 2572 h 88582"/>
                <a:gd name="connsiteX23" fmla="*/ 63817 w 65722"/>
                <a:gd name="connsiteY23" fmla="*/ 9430 h 88582"/>
                <a:gd name="connsiteX24" fmla="*/ 58007 w 65722"/>
                <a:gd name="connsiteY24" fmla="*/ 18955 h 88582"/>
                <a:gd name="connsiteX25" fmla="*/ 45529 w 65722"/>
                <a:gd name="connsiteY25" fmla="*/ 12954 h 88582"/>
                <a:gd name="connsiteX26" fmla="*/ 32766 w 65722"/>
                <a:gd name="connsiteY26" fmla="*/ 10763 h 88582"/>
                <a:gd name="connsiteX27" fmla="*/ 20765 w 65722"/>
                <a:gd name="connsiteY27" fmla="*/ 14288 h 88582"/>
                <a:gd name="connsiteX28" fmla="*/ 16288 w 65722"/>
                <a:gd name="connsiteY28" fmla="*/ 23146 h 88582"/>
                <a:gd name="connsiteX29" fmla="*/ 16288 w 65722"/>
                <a:gd name="connsiteY29" fmla="*/ 23527 h 88582"/>
                <a:gd name="connsiteX30" fmla="*/ 18097 w 65722"/>
                <a:gd name="connsiteY30" fmla="*/ 28766 h 88582"/>
                <a:gd name="connsiteX31" fmla="*/ 22955 w 65722"/>
                <a:gd name="connsiteY31" fmla="*/ 32671 h 88582"/>
                <a:gd name="connsiteX32" fmla="*/ 30004 w 65722"/>
                <a:gd name="connsiteY32" fmla="*/ 35624 h 88582"/>
                <a:gd name="connsiteX33" fmla="*/ 38291 w 65722"/>
                <a:gd name="connsiteY33" fmla="*/ 38291 h 88582"/>
                <a:gd name="connsiteX34" fmla="*/ 48101 w 65722"/>
                <a:gd name="connsiteY34" fmla="*/ 41624 h 88582"/>
                <a:gd name="connsiteX35" fmla="*/ 56959 w 65722"/>
                <a:gd name="connsiteY35" fmla="*/ 46292 h 88582"/>
                <a:gd name="connsiteX36" fmla="*/ 63341 w 65722"/>
                <a:gd name="connsiteY36" fmla="*/ 53054 h 88582"/>
                <a:gd name="connsiteX37" fmla="*/ 65722 w 65722"/>
                <a:gd name="connsiteY37" fmla="*/ 62770 h 88582"/>
                <a:gd name="connsiteX38" fmla="*/ 65722 w 65722"/>
                <a:gd name="connsiteY38" fmla="*/ 63056 h 88582"/>
                <a:gd name="connsiteX39" fmla="*/ 63341 w 65722"/>
                <a:gd name="connsiteY39" fmla="*/ 73819 h 88582"/>
                <a:gd name="connsiteX40" fmla="*/ 56864 w 65722"/>
                <a:gd name="connsiteY40" fmla="*/ 81820 h 88582"/>
                <a:gd name="connsiteX41" fmla="*/ 47339 w 65722"/>
                <a:gd name="connsiteY41" fmla="*/ 86868 h 88582"/>
                <a:gd name="connsiteX42" fmla="*/ 35338 w 65722"/>
                <a:gd name="connsiteY42" fmla="*/ 88583 h 8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5722" h="88582">
                  <a:moveTo>
                    <a:pt x="35338" y="88297"/>
                  </a:moveTo>
                  <a:cubicBezTo>
                    <a:pt x="29146" y="88297"/>
                    <a:pt x="22955" y="87154"/>
                    <a:pt x="16669" y="84963"/>
                  </a:cubicBezTo>
                  <a:cubicBezTo>
                    <a:pt x="10382" y="82677"/>
                    <a:pt x="4858" y="79629"/>
                    <a:pt x="0" y="75819"/>
                  </a:cubicBezTo>
                  <a:lnTo>
                    <a:pt x="6477" y="66770"/>
                  </a:lnTo>
                  <a:cubicBezTo>
                    <a:pt x="11144" y="70295"/>
                    <a:pt x="15907" y="72962"/>
                    <a:pt x="20955" y="74867"/>
                  </a:cubicBezTo>
                  <a:cubicBezTo>
                    <a:pt x="26003" y="76771"/>
                    <a:pt x="30956" y="77629"/>
                    <a:pt x="36004" y="77629"/>
                  </a:cubicBezTo>
                  <a:cubicBezTo>
                    <a:pt x="41053" y="77629"/>
                    <a:pt x="45434" y="76391"/>
                    <a:pt x="48673" y="74009"/>
                  </a:cubicBezTo>
                  <a:cubicBezTo>
                    <a:pt x="51911" y="71628"/>
                    <a:pt x="53626" y="68294"/>
                    <a:pt x="53626" y="64103"/>
                  </a:cubicBezTo>
                  <a:lnTo>
                    <a:pt x="53626" y="63818"/>
                  </a:lnTo>
                  <a:cubicBezTo>
                    <a:pt x="53626" y="61722"/>
                    <a:pt x="53054" y="59912"/>
                    <a:pt x="51911" y="58388"/>
                  </a:cubicBezTo>
                  <a:cubicBezTo>
                    <a:pt x="50768" y="56864"/>
                    <a:pt x="49149" y="55531"/>
                    <a:pt x="47244" y="54388"/>
                  </a:cubicBezTo>
                  <a:cubicBezTo>
                    <a:pt x="45244" y="53245"/>
                    <a:pt x="42958" y="52197"/>
                    <a:pt x="40386" y="51340"/>
                  </a:cubicBezTo>
                  <a:cubicBezTo>
                    <a:pt x="37814" y="50483"/>
                    <a:pt x="35147" y="49625"/>
                    <a:pt x="32385" y="48863"/>
                  </a:cubicBezTo>
                  <a:cubicBezTo>
                    <a:pt x="29051" y="47911"/>
                    <a:pt x="25717" y="46768"/>
                    <a:pt x="22384" y="45625"/>
                  </a:cubicBezTo>
                  <a:cubicBezTo>
                    <a:pt x="19050" y="44482"/>
                    <a:pt x="16002" y="43053"/>
                    <a:pt x="13335" y="41243"/>
                  </a:cubicBezTo>
                  <a:cubicBezTo>
                    <a:pt x="10668" y="39433"/>
                    <a:pt x="8477" y="37243"/>
                    <a:pt x="6763" y="34671"/>
                  </a:cubicBezTo>
                  <a:cubicBezTo>
                    <a:pt x="5048" y="32004"/>
                    <a:pt x="4191" y="28766"/>
                    <a:pt x="4191" y="24765"/>
                  </a:cubicBezTo>
                  <a:lnTo>
                    <a:pt x="4191" y="24384"/>
                  </a:lnTo>
                  <a:cubicBezTo>
                    <a:pt x="4191" y="20765"/>
                    <a:pt x="4953" y="17431"/>
                    <a:pt x="6287" y="14383"/>
                  </a:cubicBezTo>
                  <a:cubicBezTo>
                    <a:pt x="7715" y="11335"/>
                    <a:pt x="9716" y="8763"/>
                    <a:pt x="12287" y="6668"/>
                  </a:cubicBezTo>
                  <a:cubicBezTo>
                    <a:pt x="14859" y="4572"/>
                    <a:pt x="17907" y="2858"/>
                    <a:pt x="21526" y="1715"/>
                  </a:cubicBezTo>
                  <a:cubicBezTo>
                    <a:pt x="25146" y="571"/>
                    <a:pt x="28956" y="0"/>
                    <a:pt x="33147" y="0"/>
                  </a:cubicBezTo>
                  <a:cubicBezTo>
                    <a:pt x="38386" y="0"/>
                    <a:pt x="43815" y="857"/>
                    <a:pt x="49149" y="2572"/>
                  </a:cubicBezTo>
                  <a:cubicBezTo>
                    <a:pt x="54578" y="4286"/>
                    <a:pt x="59436" y="6572"/>
                    <a:pt x="63817" y="9430"/>
                  </a:cubicBezTo>
                  <a:lnTo>
                    <a:pt x="58007" y="18955"/>
                  </a:lnTo>
                  <a:cubicBezTo>
                    <a:pt x="54007" y="16383"/>
                    <a:pt x="49911" y="14383"/>
                    <a:pt x="45529" y="12954"/>
                  </a:cubicBezTo>
                  <a:cubicBezTo>
                    <a:pt x="41148" y="11430"/>
                    <a:pt x="36957" y="10763"/>
                    <a:pt x="32766" y="10763"/>
                  </a:cubicBezTo>
                  <a:cubicBezTo>
                    <a:pt x="27718" y="10763"/>
                    <a:pt x="23717" y="11906"/>
                    <a:pt x="20765" y="14288"/>
                  </a:cubicBezTo>
                  <a:cubicBezTo>
                    <a:pt x="17812" y="16669"/>
                    <a:pt x="16288" y="19621"/>
                    <a:pt x="16288" y="23146"/>
                  </a:cubicBezTo>
                  <a:lnTo>
                    <a:pt x="16288" y="23527"/>
                  </a:lnTo>
                  <a:cubicBezTo>
                    <a:pt x="16288" y="25527"/>
                    <a:pt x="16859" y="27242"/>
                    <a:pt x="18097" y="28766"/>
                  </a:cubicBezTo>
                  <a:cubicBezTo>
                    <a:pt x="19336" y="30290"/>
                    <a:pt x="20955" y="31528"/>
                    <a:pt x="22955" y="32671"/>
                  </a:cubicBezTo>
                  <a:cubicBezTo>
                    <a:pt x="24955" y="33814"/>
                    <a:pt x="27337" y="34766"/>
                    <a:pt x="30004" y="35624"/>
                  </a:cubicBezTo>
                  <a:cubicBezTo>
                    <a:pt x="32671" y="36481"/>
                    <a:pt x="35433" y="37338"/>
                    <a:pt x="38291" y="38291"/>
                  </a:cubicBezTo>
                  <a:cubicBezTo>
                    <a:pt x="41624" y="39243"/>
                    <a:pt x="44863" y="40386"/>
                    <a:pt x="48101" y="41624"/>
                  </a:cubicBezTo>
                  <a:cubicBezTo>
                    <a:pt x="51340" y="42863"/>
                    <a:pt x="54292" y="44387"/>
                    <a:pt x="56959" y="46292"/>
                  </a:cubicBezTo>
                  <a:cubicBezTo>
                    <a:pt x="59626" y="48196"/>
                    <a:pt x="61722" y="50387"/>
                    <a:pt x="63341" y="53054"/>
                  </a:cubicBezTo>
                  <a:cubicBezTo>
                    <a:pt x="64961" y="55721"/>
                    <a:pt x="65722" y="58960"/>
                    <a:pt x="65722" y="62770"/>
                  </a:cubicBezTo>
                  <a:lnTo>
                    <a:pt x="65722" y="63056"/>
                  </a:lnTo>
                  <a:cubicBezTo>
                    <a:pt x="65722" y="67151"/>
                    <a:pt x="64961" y="70771"/>
                    <a:pt x="63341" y="73819"/>
                  </a:cubicBezTo>
                  <a:cubicBezTo>
                    <a:pt x="61722" y="76962"/>
                    <a:pt x="59626" y="79629"/>
                    <a:pt x="56864" y="81820"/>
                  </a:cubicBezTo>
                  <a:cubicBezTo>
                    <a:pt x="54197" y="84011"/>
                    <a:pt x="50959" y="85725"/>
                    <a:pt x="47339" y="86868"/>
                  </a:cubicBezTo>
                  <a:cubicBezTo>
                    <a:pt x="43625" y="88011"/>
                    <a:pt x="39624" y="88583"/>
                    <a:pt x="35338" y="88583"/>
                  </a:cubicBez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C504175-A159-852D-6A1A-9BFA56032072}"/>
                </a:ext>
              </a:extLst>
            </p:cNvPr>
            <p:cNvSpPr/>
            <p:nvPr/>
          </p:nvSpPr>
          <p:spPr>
            <a:xfrm>
              <a:off x="937990" y="4443444"/>
              <a:ext cx="2146077" cy="23812"/>
            </a:xfrm>
            <a:custGeom>
              <a:avLst/>
              <a:gdLst>
                <a:gd name="connsiteX0" fmla="*/ 0 w 2146077"/>
                <a:gd name="connsiteY0" fmla="*/ 0 h 23812"/>
                <a:gd name="connsiteX1" fmla="*/ 2146078 w 2146077"/>
                <a:gd name="connsiteY1" fmla="*/ 0 h 23812"/>
                <a:gd name="connsiteX2" fmla="*/ 2146078 w 2146077"/>
                <a:gd name="connsiteY2" fmla="*/ 23812 h 23812"/>
                <a:gd name="connsiteX3" fmla="*/ 0 w 2146077"/>
                <a:gd name="connsiteY3" fmla="*/ 23812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6077" h="23812">
                  <a:moveTo>
                    <a:pt x="0" y="0"/>
                  </a:moveTo>
                  <a:lnTo>
                    <a:pt x="2146078" y="0"/>
                  </a:lnTo>
                  <a:lnTo>
                    <a:pt x="2146078" y="23812"/>
                  </a:lnTo>
                  <a:lnTo>
                    <a:pt x="0" y="23812"/>
                  </a:lnTo>
                  <a:close/>
                </a:path>
              </a:pathLst>
            </a:custGeom>
            <a:solidFill>
              <a:srgbClr val="43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C6135EE-D831-7D24-4530-FE50A19209D9}"/>
                </a:ext>
              </a:extLst>
            </p:cNvPr>
            <p:cNvSpPr/>
            <p:nvPr/>
          </p:nvSpPr>
          <p:spPr>
            <a:xfrm>
              <a:off x="1851723" y="2368803"/>
              <a:ext cx="396906" cy="872299"/>
            </a:xfrm>
            <a:custGeom>
              <a:avLst/>
              <a:gdLst>
                <a:gd name="connsiteX0" fmla="*/ 0 w 396906"/>
                <a:gd name="connsiteY0" fmla="*/ 76962 h 872299"/>
                <a:gd name="connsiteX1" fmla="*/ 45625 w 396906"/>
                <a:gd name="connsiteY1" fmla="*/ 37719 h 872299"/>
                <a:gd name="connsiteX2" fmla="*/ 91250 w 396906"/>
                <a:gd name="connsiteY2" fmla="*/ 76962 h 872299"/>
                <a:gd name="connsiteX3" fmla="*/ 91250 w 396906"/>
                <a:gd name="connsiteY3" fmla="*/ 701421 h 872299"/>
                <a:gd name="connsiteX4" fmla="*/ 91250 w 396906"/>
                <a:gd name="connsiteY4" fmla="*/ 701421 h 872299"/>
                <a:gd name="connsiteX5" fmla="*/ 91250 w 396906"/>
                <a:gd name="connsiteY5" fmla="*/ 702564 h 872299"/>
                <a:gd name="connsiteX6" fmla="*/ 121825 w 396906"/>
                <a:gd name="connsiteY6" fmla="*/ 766096 h 872299"/>
                <a:gd name="connsiteX7" fmla="*/ 122492 w 396906"/>
                <a:gd name="connsiteY7" fmla="*/ 766667 h 872299"/>
                <a:gd name="connsiteX8" fmla="*/ 122682 w 396906"/>
                <a:gd name="connsiteY8" fmla="*/ 766858 h 872299"/>
                <a:gd name="connsiteX9" fmla="*/ 198501 w 396906"/>
                <a:gd name="connsiteY9" fmla="*/ 793718 h 872299"/>
                <a:gd name="connsiteX10" fmla="*/ 273653 w 396906"/>
                <a:gd name="connsiteY10" fmla="*/ 767429 h 872299"/>
                <a:gd name="connsiteX11" fmla="*/ 274320 w 396906"/>
                <a:gd name="connsiteY11" fmla="*/ 766858 h 872299"/>
                <a:gd name="connsiteX12" fmla="*/ 274511 w 396906"/>
                <a:gd name="connsiteY12" fmla="*/ 766667 h 872299"/>
                <a:gd name="connsiteX13" fmla="*/ 305753 w 396906"/>
                <a:gd name="connsiteY13" fmla="*/ 701326 h 872299"/>
                <a:gd name="connsiteX14" fmla="*/ 305753 w 396906"/>
                <a:gd name="connsiteY14" fmla="*/ 39243 h 872299"/>
                <a:gd name="connsiteX15" fmla="*/ 351377 w 396906"/>
                <a:gd name="connsiteY15" fmla="*/ 0 h 872299"/>
                <a:gd name="connsiteX16" fmla="*/ 396907 w 396906"/>
                <a:gd name="connsiteY16" fmla="*/ 39243 h 872299"/>
                <a:gd name="connsiteX17" fmla="*/ 396907 w 396906"/>
                <a:gd name="connsiteY17" fmla="*/ 701421 h 872299"/>
                <a:gd name="connsiteX18" fmla="*/ 338804 w 396906"/>
                <a:gd name="connsiteY18" fmla="*/ 822008 h 872299"/>
                <a:gd name="connsiteX19" fmla="*/ 338804 w 396906"/>
                <a:gd name="connsiteY19" fmla="*/ 822008 h 872299"/>
                <a:gd name="connsiteX20" fmla="*/ 338709 w 396906"/>
                <a:gd name="connsiteY20" fmla="*/ 822198 h 872299"/>
                <a:gd name="connsiteX21" fmla="*/ 338519 w 396906"/>
                <a:gd name="connsiteY21" fmla="*/ 822389 h 872299"/>
                <a:gd name="connsiteX22" fmla="*/ 198596 w 396906"/>
                <a:gd name="connsiteY22" fmla="*/ 872300 h 872299"/>
                <a:gd name="connsiteX23" fmla="*/ 58483 w 396906"/>
                <a:gd name="connsiteY23" fmla="*/ 822198 h 872299"/>
                <a:gd name="connsiteX24" fmla="*/ 58483 w 396906"/>
                <a:gd name="connsiteY24" fmla="*/ 822198 h 872299"/>
                <a:gd name="connsiteX25" fmla="*/ 58388 w 396906"/>
                <a:gd name="connsiteY25" fmla="*/ 822008 h 872299"/>
                <a:gd name="connsiteX26" fmla="*/ 58198 w 396906"/>
                <a:gd name="connsiteY26" fmla="*/ 822008 h 872299"/>
                <a:gd name="connsiteX27" fmla="*/ 286 w 396906"/>
                <a:gd name="connsiteY27" fmla="*/ 701421 h 872299"/>
                <a:gd name="connsiteX28" fmla="*/ 286 w 396906"/>
                <a:gd name="connsiteY28" fmla="*/ 701421 h 872299"/>
                <a:gd name="connsiteX29" fmla="*/ 286 w 396906"/>
                <a:gd name="connsiteY29" fmla="*/ 76962 h 87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6906" h="872299">
                  <a:moveTo>
                    <a:pt x="0" y="76962"/>
                  </a:moveTo>
                  <a:cubicBezTo>
                    <a:pt x="0" y="55340"/>
                    <a:pt x="20479" y="37719"/>
                    <a:pt x="45625" y="37719"/>
                  </a:cubicBezTo>
                  <a:cubicBezTo>
                    <a:pt x="70771" y="37719"/>
                    <a:pt x="91250" y="55340"/>
                    <a:pt x="91250" y="76962"/>
                  </a:cubicBezTo>
                  <a:lnTo>
                    <a:pt x="91250" y="701421"/>
                  </a:lnTo>
                  <a:lnTo>
                    <a:pt x="91250" y="701421"/>
                  </a:lnTo>
                  <a:lnTo>
                    <a:pt x="91250" y="702564"/>
                  </a:lnTo>
                  <a:cubicBezTo>
                    <a:pt x="91631" y="727424"/>
                    <a:pt x="103251" y="749808"/>
                    <a:pt x="121825" y="766096"/>
                  </a:cubicBezTo>
                  <a:lnTo>
                    <a:pt x="122492" y="766667"/>
                  </a:lnTo>
                  <a:lnTo>
                    <a:pt x="122682" y="766858"/>
                  </a:lnTo>
                  <a:cubicBezTo>
                    <a:pt x="142018" y="783431"/>
                    <a:pt x="168783" y="793718"/>
                    <a:pt x="198501" y="793718"/>
                  </a:cubicBezTo>
                  <a:cubicBezTo>
                    <a:pt x="228219" y="793718"/>
                    <a:pt x="254508" y="783622"/>
                    <a:pt x="273653" y="767429"/>
                  </a:cubicBezTo>
                  <a:lnTo>
                    <a:pt x="274320" y="766858"/>
                  </a:lnTo>
                  <a:lnTo>
                    <a:pt x="274511" y="766667"/>
                  </a:lnTo>
                  <a:cubicBezTo>
                    <a:pt x="293846" y="750094"/>
                    <a:pt x="305753" y="726948"/>
                    <a:pt x="305753" y="701326"/>
                  </a:cubicBezTo>
                  <a:lnTo>
                    <a:pt x="305753" y="39243"/>
                  </a:lnTo>
                  <a:cubicBezTo>
                    <a:pt x="305753" y="17621"/>
                    <a:pt x="326136" y="0"/>
                    <a:pt x="351377" y="0"/>
                  </a:cubicBezTo>
                  <a:cubicBezTo>
                    <a:pt x="376619" y="0"/>
                    <a:pt x="396907" y="17526"/>
                    <a:pt x="396907" y="39243"/>
                  </a:cubicBezTo>
                  <a:lnTo>
                    <a:pt x="396907" y="701421"/>
                  </a:lnTo>
                  <a:cubicBezTo>
                    <a:pt x="396907" y="748379"/>
                    <a:pt x="374714" y="791051"/>
                    <a:pt x="338804" y="822008"/>
                  </a:cubicBezTo>
                  <a:lnTo>
                    <a:pt x="338804" y="822008"/>
                  </a:lnTo>
                  <a:cubicBezTo>
                    <a:pt x="338804" y="822008"/>
                    <a:pt x="338709" y="822198"/>
                    <a:pt x="338709" y="822198"/>
                  </a:cubicBezTo>
                  <a:lnTo>
                    <a:pt x="338519" y="822389"/>
                  </a:lnTo>
                  <a:cubicBezTo>
                    <a:pt x="302609" y="853250"/>
                    <a:pt x="253079" y="872300"/>
                    <a:pt x="198596" y="872300"/>
                  </a:cubicBezTo>
                  <a:cubicBezTo>
                    <a:pt x="144113" y="872300"/>
                    <a:pt x="94488" y="853154"/>
                    <a:pt x="58483" y="822198"/>
                  </a:cubicBezTo>
                  <a:lnTo>
                    <a:pt x="58483" y="822198"/>
                  </a:lnTo>
                  <a:cubicBezTo>
                    <a:pt x="58483" y="822198"/>
                    <a:pt x="58388" y="822008"/>
                    <a:pt x="58388" y="822008"/>
                  </a:cubicBezTo>
                  <a:lnTo>
                    <a:pt x="58198" y="822008"/>
                  </a:lnTo>
                  <a:cubicBezTo>
                    <a:pt x="22384" y="790861"/>
                    <a:pt x="286" y="748284"/>
                    <a:pt x="286" y="701421"/>
                  </a:cubicBezTo>
                  <a:lnTo>
                    <a:pt x="286" y="701421"/>
                  </a:lnTo>
                  <a:lnTo>
                    <a:pt x="286" y="76962"/>
                  </a:lnTo>
                  <a:close/>
                </a:path>
              </a:pathLst>
            </a:custGeom>
            <a:solidFill>
              <a:srgbClr val="8DC63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F7E4F5F-8D9C-3438-851C-17811806AB64}"/>
                </a:ext>
              </a:extLst>
            </p:cNvPr>
            <p:cNvSpPr/>
            <p:nvPr/>
          </p:nvSpPr>
          <p:spPr>
            <a:xfrm>
              <a:off x="2012791" y="2289175"/>
              <a:ext cx="78390" cy="816006"/>
            </a:xfrm>
            <a:custGeom>
              <a:avLst/>
              <a:gdLst>
                <a:gd name="connsiteX0" fmla="*/ 0 w 78390"/>
                <a:gd name="connsiteY0" fmla="*/ 39243 h 816006"/>
                <a:gd name="connsiteX1" fmla="*/ 39243 w 78390"/>
                <a:gd name="connsiteY1" fmla="*/ 0 h 816006"/>
                <a:gd name="connsiteX2" fmla="*/ 78391 w 78390"/>
                <a:gd name="connsiteY2" fmla="*/ 39243 h 816006"/>
                <a:gd name="connsiteX3" fmla="*/ 78391 w 78390"/>
                <a:gd name="connsiteY3" fmla="*/ 776764 h 816006"/>
                <a:gd name="connsiteX4" fmla="*/ 39243 w 78390"/>
                <a:gd name="connsiteY4" fmla="*/ 816007 h 816006"/>
                <a:gd name="connsiteX5" fmla="*/ 0 w 78390"/>
                <a:gd name="connsiteY5" fmla="*/ 776764 h 816006"/>
                <a:gd name="connsiteX6" fmla="*/ 0 w 78390"/>
                <a:gd name="connsiteY6" fmla="*/ 39243 h 8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90" h="816006">
                  <a:moveTo>
                    <a:pt x="0" y="39243"/>
                  </a:moveTo>
                  <a:cubicBezTo>
                    <a:pt x="0" y="17621"/>
                    <a:pt x="17526" y="0"/>
                    <a:pt x="39243" y="0"/>
                  </a:cubicBezTo>
                  <a:cubicBezTo>
                    <a:pt x="60960" y="0"/>
                    <a:pt x="78391" y="17621"/>
                    <a:pt x="78391" y="39243"/>
                  </a:cubicBezTo>
                  <a:lnTo>
                    <a:pt x="78391" y="776764"/>
                  </a:lnTo>
                  <a:cubicBezTo>
                    <a:pt x="78391" y="798386"/>
                    <a:pt x="60865" y="816007"/>
                    <a:pt x="39243" y="816007"/>
                  </a:cubicBezTo>
                  <a:cubicBezTo>
                    <a:pt x="17621" y="816007"/>
                    <a:pt x="0" y="798386"/>
                    <a:pt x="0" y="776764"/>
                  </a:cubicBezTo>
                  <a:lnTo>
                    <a:pt x="0" y="39243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3659A66-D281-4025-2B61-BE233EFE683A}"/>
                </a:ext>
              </a:extLst>
            </p:cNvPr>
            <p:cNvSpPr/>
            <p:nvPr/>
          </p:nvSpPr>
          <p:spPr>
            <a:xfrm>
              <a:off x="1696751" y="2461863"/>
              <a:ext cx="705230" cy="942498"/>
            </a:xfrm>
            <a:custGeom>
              <a:avLst/>
              <a:gdLst>
                <a:gd name="connsiteX0" fmla="*/ 705231 w 705230"/>
                <a:gd name="connsiteY0" fmla="*/ 50387 h 942498"/>
                <a:gd name="connsiteX1" fmla="*/ 705231 w 705230"/>
                <a:gd name="connsiteY1" fmla="*/ 632651 h 942498"/>
                <a:gd name="connsiteX2" fmla="*/ 655415 w 705230"/>
                <a:gd name="connsiteY2" fmla="*/ 813245 h 942498"/>
                <a:gd name="connsiteX3" fmla="*/ 356711 w 705230"/>
                <a:gd name="connsiteY3" fmla="*/ 942499 h 942498"/>
                <a:gd name="connsiteX4" fmla="*/ 348520 w 705230"/>
                <a:gd name="connsiteY4" fmla="*/ 942499 h 942498"/>
                <a:gd name="connsiteX5" fmla="*/ 49816 w 705230"/>
                <a:gd name="connsiteY5" fmla="*/ 813245 h 942498"/>
                <a:gd name="connsiteX6" fmla="*/ 0 w 705230"/>
                <a:gd name="connsiteY6" fmla="*/ 632651 h 942498"/>
                <a:gd name="connsiteX7" fmla="*/ 0 w 705230"/>
                <a:gd name="connsiteY7" fmla="*/ 289751 h 942498"/>
                <a:gd name="connsiteX8" fmla="*/ 50292 w 705230"/>
                <a:gd name="connsiteY8" fmla="*/ 239459 h 942498"/>
                <a:gd name="connsiteX9" fmla="*/ 100489 w 705230"/>
                <a:gd name="connsiteY9" fmla="*/ 289751 h 942498"/>
                <a:gd name="connsiteX10" fmla="*/ 100489 w 705230"/>
                <a:gd name="connsiteY10" fmla="*/ 632651 h 942498"/>
                <a:gd name="connsiteX11" fmla="*/ 129254 w 705230"/>
                <a:gd name="connsiteY11" fmla="*/ 751427 h 942498"/>
                <a:gd name="connsiteX12" fmla="*/ 349567 w 705230"/>
                <a:gd name="connsiteY12" fmla="*/ 841820 h 942498"/>
                <a:gd name="connsiteX13" fmla="*/ 355568 w 705230"/>
                <a:gd name="connsiteY13" fmla="*/ 841820 h 942498"/>
                <a:gd name="connsiteX14" fmla="*/ 575977 w 705230"/>
                <a:gd name="connsiteY14" fmla="*/ 751427 h 942498"/>
                <a:gd name="connsiteX15" fmla="*/ 604647 w 705230"/>
                <a:gd name="connsiteY15" fmla="*/ 632651 h 942498"/>
                <a:gd name="connsiteX16" fmla="*/ 604647 w 705230"/>
                <a:gd name="connsiteY16" fmla="*/ 50387 h 942498"/>
                <a:gd name="connsiteX17" fmla="*/ 654939 w 705230"/>
                <a:gd name="connsiteY17" fmla="*/ 0 h 942498"/>
                <a:gd name="connsiteX18" fmla="*/ 705231 w 705230"/>
                <a:gd name="connsiteY18" fmla="*/ 50387 h 94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5230" h="942498">
                  <a:moveTo>
                    <a:pt x="705231" y="50387"/>
                  </a:moveTo>
                  <a:lnTo>
                    <a:pt x="705231" y="632651"/>
                  </a:lnTo>
                  <a:cubicBezTo>
                    <a:pt x="705231" y="682562"/>
                    <a:pt x="699992" y="755618"/>
                    <a:pt x="655415" y="813245"/>
                  </a:cubicBezTo>
                  <a:cubicBezTo>
                    <a:pt x="596265" y="889540"/>
                    <a:pt x="522446" y="940784"/>
                    <a:pt x="356711" y="942499"/>
                  </a:cubicBezTo>
                  <a:lnTo>
                    <a:pt x="348520" y="942499"/>
                  </a:lnTo>
                  <a:cubicBezTo>
                    <a:pt x="182785" y="940784"/>
                    <a:pt x="108966" y="889540"/>
                    <a:pt x="49816" y="813245"/>
                  </a:cubicBezTo>
                  <a:cubicBezTo>
                    <a:pt x="5144" y="755618"/>
                    <a:pt x="0" y="682562"/>
                    <a:pt x="0" y="632651"/>
                  </a:cubicBezTo>
                  <a:lnTo>
                    <a:pt x="0" y="289751"/>
                  </a:lnTo>
                  <a:cubicBezTo>
                    <a:pt x="0" y="262033"/>
                    <a:pt x="22384" y="239459"/>
                    <a:pt x="50292" y="239459"/>
                  </a:cubicBezTo>
                  <a:cubicBezTo>
                    <a:pt x="78200" y="239459"/>
                    <a:pt x="100489" y="262033"/>
                    <a:pt x="100489" y="289751"/>
                  </a:cubicBezTo>
                  <a:lnTo>
                    <a:pt x="100489" y="632651"/>
                  </a:lnTo>
                  <a:cubicBezTo>
                    <a:pt x="100489" y="688467"/>
                    <a:pt x="109538" y="726281"/>
                    <a:pt x="129254" y="751427"/>
                  </a:cubicBezTo>
                  <a:cubicBezTo>
                    <a:pt x="173736" y="809054"/>
                    <a:pt x="222504" y="840677"/>
                    <a:pt x="349567" y="841820"/>
                  </a:cubicBezTo>
                  <a:lnTo>
                    <a:pt x="355568" y="841820"/>
                  </a:lnTo>
                  <a:cubicBezTo>
                    <a:pt x="482822" y="840677"/>
                    <a:pt x="531305" y="809054"/>
                    <a:pt x="575977" y="751427"/>
                  </a:cubicBezTo>
                  <a:cubicBezTo>
                    <a:pt x="595503" y="726281"/>
                    <a:pt x="604647" y="688467"/>
                    <a:pt x="604647" y="632651"/>
                  </a:cubicBezTo>
                  <a:lnTo>
                    <a:pt x="604647" y="50387"/>
                  </a:lnTo>
                  <a:cubicBezTo>
                    <a:pt x="604647" y="22479"/>
                    <a:pt x="627221" y="0"/>
                    <a:pt x="654939" y="0"/>
                  </a:cubicBezTo>
                  <a:cubicBezTo>
                    <a:pt x="682657" y="0"/>
                    <a:pt x="705231" y="22479"/>
                    <a:pt x="705231" y="50387"/>
                  </a:cubicBezTo>
                </a:path>
              </a:pathLst>
            </a:custGeom>
            <a:solidFill>
              <a:srgbClr val="482F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38B048E-E2EE-5B40-8804-5C60114710DD}"/>
              </a:ext>
            </a:extLst>
          </p:cNvPr>
          <p:cNvSpPr txBox="1"/>
          <p:nvPr/>
        </p:nvSpPr>
        <p:spPr>
          <a:xfrm>
            <a:off x="882325" y="4994947"/>
            <a:ext cx="35421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 dirty="0"/>
              <a:t>Oficina Critérios Diagnósticos NEONATAL</a:t>
            </a:r>
          </a:p>
        </p:txBody>
      </p:sp>
    </p:spTree>
    <p:extLst>
      <p:ext uri="{BB962C8B-B14F-4D97-AF65-F5344CB8AC3E}">
        <p14:creationId xmlns:p14="http://schemas.microsoft.com/office/powerpoint/2010/main" val="5545712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11575" y="687608"/>
            <a:ext cx="10058400" cy="631231"/>
          </a:xfrm>
        </p:spPr>
        <p:txBody>
          <a:bodyPr>
            <a:normAutofit/>
          </a:bodyPr>
          <a:lstStyle/>
          <a:p>
            <a:r>
              <a:rPr lang="pt-BR" sz="3600" b="1">
                <a:solidFill>
                  <a:srgbClr val="3299B1"/>
                </a:solidFill>
                <a:latin typeface="Agency FB" panose="020B0503020202020204" pitchFamily="34" charset="0"/>
              </a:rPr>
              <a:t>Caso 1 - NEONAT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636A108-B6A8-4241-8AF2-269D22F75D8B}"/>
              </a:ext>
            </a:extLst>
          </p:cNvPr>
          <p:cNvSpPr txBox="1"/>
          <p:nvPr/>
        </p:nvSpPr>
        <p:spPr>
          <a:xfrm>
            <a:off x="641554" y="1597839"/>
            <a:ext cx="11380840" cy="2708434"/>
          </a:xfrm>
          <a:prstGeom prst="rect">
            <a:avLst/>
          </a:prstGeom>
          <a:noFill/>
        </p:spPr>
        <p:txBody>
          <a:bodyPr wrap="square" lIns="91440" tIns="45720" rIns="91440" bIns="45720" numCol="1" anchor="t">
            <a:spAutoFit/>
          </a:bodyPr>
          <a:lstStyle/>
          <a:p>
            <a:pPr algn="just">
              <a:spcAft>
                <a:spcPts val="1200"/>
              </a:spcAft>
              <a:defRPr/>
            </a:pPr>
            <a:endParaRPr lang="pt-BR" sz="2000">
              <a:solidFill>
                <a:schemeClr val="tx2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076" name="Picture 4" descr="Gifs de alerta - Gifs e Imagens Animadas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589" y="2352128"/>
            <a:ext cx="5665837" cy="318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821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269E6F-AAB8-B6E3-7DDD-8E2FA98C2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10F0886-F0BB-F9F6-3BA8-BD53A25861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0F0886-F0BB-F9F6-3BA8-BD53A2586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9854F7BA-1496-DE4B-B5B9-60D3ED58C1E3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D588096-F806-C0B9-8AE8-69D0DE787A4D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B96E22-BA56-C09D-A056-E28EA004FD17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82A373-FE8C-74F7-6096-3A52B9AD3A1A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3882C23-70CE-2143-C8B6-D1B288EAE97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D25F420-D1E2-8D10-B8CA-CB412980780A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3CFF368-BEE5-B120-222F-6BFB62DCC53C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A9609D0-A425-FBDB-0F58-5784B141E7C1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1A4C7A2-6823-0881-8A5A-CF8E4C6AC954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901BA68-7003-3E27-A9C9-50D52798F55F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ECFA163-0BF1-FFD8-B839-940907162ED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3A880EB-B987-A54E-A306-8314126DD25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244C7BE-0B4F-F0FC-D1D8-197F46B536C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2B5A287-EF8A-279D-5C5C-7D1C821D7F0E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2CD64E3-9E73-6913-A93D-5621C2918BC8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75A60FB-0D86-D6BF-9144-2826CA254D04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5E5B22E-BF92-6D10-951B-13C4A83BF4F8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AE01A66-7DF1-3F74-0EE9-753C1A8E4791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6B14EF-9E98-62E5-AAEA-745BD25D1C8A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EF40177-7183-3857-9772-1E0B55203AB2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F9C54F9-C7A9-F3AB-B1E4-5BC0A42095C2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0408350-75CD-3539-C388-AD32E14F39B6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C2F792E-812F-89E3-171A-E21B0887F2A8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55B8D75-E0F0-8779-9F84-B19DF4E52B60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FEB1A25-25C9-2CCD-E876-42E9D213C53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C0B3111-2087-4FF6-753D-12B01F0C4D0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9427667-E3C3-71DE-68E2-90F6AA614722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C696A87-2885-05CC-AA60-DA8AD51663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CC11B75-2473-9CC5-1C8E-09F65E13E195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F7330BF-00EB-9D94-3870-A8C298170096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C21E064-EDF1-BE4F-6D57-51013A0D81A0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C9BE7DB-A734-EBF6-568F-C9CF220BB67B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340FA6E-8A00-4DBE-29EE-8B0FC4B8CAFD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D35FF55-26EB-4F81-C276-0FA348004B71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2BC673E-AE43-4F2B-8DF2-955EDB2BF93E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01C301D-4F5D-ECA4-5C78-91B0C219A0D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A9686B4-FFCA-90ED-AB8A-FDF748DC60B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F508CDF-EEE0-D9E2-7C59-F7A6AAA16E30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DC7E999-2C01-A693-6D30-26A40567EC4C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8B6A908F-D48A-E097-7008-D921B7624067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3B2B7A8-6D05-28D6-CF50-7210684D65B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953191F-9686-C466-03F0-00178EDD9F1B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F8F327A-C667-6842-8316-C1FFBA83DC2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C90F3AC8-2D4D-5B71-A175-1B9EFB5AC1CE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67105308-37AB-0445-CBEC-8C024CC16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CEAF5D1-4804-2DF1-1C38-0481F7EEA6D0}"/>
              </a:ext>
            </a:extLst>
          </p:cNvPr>
          <p:cNvSpPr txBox="1"/>
          <p:nvPr/>
        </p:nvSpPr>
        <p:spPr>
          <a:xfrm>
            <a:off x="2519500" y="361172"/>
            <a:ext cx="3542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CASO 1- NEONATAL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7856A6B8-7F66-FC8C-A35F-52C3B3B7BCB0}"/>
              </a:ext>
            </a:extLst>
          </p:cNvPr>
          <p:cNvGrpSpPr/>
          <p:nvPr/>
        </p:nvGrpSpPr>
        <p:grpSpPr>
          <a:xfrm>
            <a:off x="562068" y="1297313"/>
            <a:ext cx="4044962" cy="4515011"/>
            <a:chOff x="365331" y="1523999"/>
            <a:chExt cx="4125687" cy="4093029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A3BF776B-6D43-C9CF-CD98-D28BC20F0892}"/>
                </a:ext>
              </a:extLst>
            </p:cNvPr>
            <p:cNvSpPr/>
            <p:nvPr/>
          </p:nvSpPr>
          <p:spPr>
            <a:xfrm>
              <a:off x="365331" y="1523999"/>
              <a:ext cx="4125687" cy="4093029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8EC6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82F8C3B0-FC9E-D1F6-5F3B-D97EE313D9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52793" r="55407" b="44992"/>
            <a:stretch/>
          </p:blipFill>
          <p:spPr>
            <a:xfrm>
              <a:off x="1884255" y="3703957"/>
              <a:ext cx="1104899" cy="167082"/>
            </a:xfrm>
            <a:prstGeom prst="rect">
              <a:avLst/>
            </a:prstGeom>
          </p:spPr>
        </p:pic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70B9549E-142B-762B-ABAE-BA32D199D7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41444" r="55407" b="49302"/>
            <a:stretch/>
          </p:blipFill>
          <p:spPr>
            <a:xfrm>
              <a:off x="1841074" y="2835795"/>
              <a:ext cx="1104899" cy="698138"/>
            </a:xfrm>
            <a:prstGeom prst="rect">
              <a:avLst/>
            </a:prstGeom>
          </p:spPr>
        </p:pic>
      </p:grpSp>
      <p:pic>
        <p:nvPicPr>
          <p:cNvPr id="1026" name="Picture 2" descr="Rosto De Bebé Desenho Animado Ilustração do Vetor ...">
            <a:extLst>
              <a:ext uri="{FF2B5EF4-FFF2-40B4-BE49-F238E27FC236}">
                <a16:creationId xmlns:a16="http://schemas.microsoft.com/office/drawing/2014/main" id="{DF004B3A-EC67-9917-7D2B-084C878E8A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12" r="40724"/>
          <a:stretch/>
        </p:blipFill>
        <p:spPr bwMode="auto">
          <a:xfrm>
            <a:off x="1942298" y="1407710"/>
            <a:ext cx="1216555" cy="1171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7" name="CaixaDeTexto 1026">
            <a:extLst>
              <a:ext uri="{FF2B5EF4-FFF2-40B4-BE49-F238E27FC236}">
                <a16:creationId xmlns:a16="http://schemas.microsoft.com/office/drawing/2014/main" id="{4F6EB555-D155-4D80-2EBE-DD6C9C9E035F}"/>
              </a:ext>
            </a:extLst>
          </p:cNvPr>
          <p:cNvSpPr txBox="1"/>
          <p:nvPr/>
        </p:nvSpPr>
        <p:spPr>
          <a:xfrm>
            <a:off x="347509" y="4029295"/>
            <a:ext cx="43469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/>
              <a:t>30 semanas</a:t>
            </a:r>
          </a:p>
          <a:p>
            <a:pPr algn="ctr"/>
            <a:endParaRPr lang="pt-BR"/>
          </a:p>
          <a:p>
            <a:pPr algn="ctr"/>
            <a:r>
              <a:rPr lang="pt-BR"/>
              <a:t>Peso: 900 </a:t>
            </a:r>
            <a:r>
              <a:rPr lang="pt-BR" err="1"/>
              <a:t>gr</a:t>
            </a:r>
            <a:endParaRPr lang="pt-BR"/>
          </a:p>
          <a:p>
            <a:pPr algn="ctr"/>
            <a:endParaRPr lang="pt-BR"/>
          </a:p>
          <a:p>
            <a:pPr algn="ctr"/>
            <a:r>
              <a:rPr lang="pt-BR"/>
              <a:t>Pequeno para idade gestacional</a:t>
            </a:r>
          </a:p>
        </p:txBody>
      </p:sp>
      <p:sp>
        <p:nvSpPr>
          <p:cNvPr id="1028" name="Seta: para Baixo 1027">
            <a:extLst>
              <a:ext uri="{FF2B5EF4-FFF2-40B4-BE49-F238E27FC236}">
                <a16:creationId xmlns:a16="http://schemas.microsoft.com/office/drawing/2014/main" id="{332F1A2F-2CA7-AB51-316C-4BBF2006F1A3}"/>
              </a:ext>
            </a:extLst>
          </p:cNvPr>
          <p:cNvSpPr/>
          <p:nvPr/>
        </p:nvSpPr>
        <p:spPr>
          <a:xfrm>
            <a:off x="8478842" y="250268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029" name="CaixaDeTexto 1028">
            <a:extLst>
              <a:ext uri="{FF2B5EF4-FFF2-40B4-BE49-F238E27FC236}">
                <a16:creationId xmlns:a16="http://schemas.microsoft.com/office/drawing/2014/main" id="{95BBBDD3-4424-D695-4B95-F7C2DA5B56D8}"/>
              </a:ext>
            </a:extLst>
          </p:cNvPr>
          <p:cNvSpPr txBox="1"/>
          <p:nvPr/>
        </p:nvSpPr>
        <p:spPr>
          <a:xfrm>
            <a:off x="6282546" y="1714956"/>
            <a:ext cx="5816986" cy="817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pt-BR" sz="2000" noProof="0"/>
              <a:t>Internado em UTI Neonatal desde o nasciment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000" noProof="0"/>
          </a:p>
        </p:txBody>
      </p:sp>
      <p:sp>
        <p:nvSpPr>
          <p:cNvPr id="1030" name="CaixaDeTexto 1029">
            <a:extLst>
              <a:ext uri="{FF2B5EF4-FFF2-40B4-BE49-F238E27FC236}">
                <a16:creationId xmlns:a16="http://schemas.microsoft.com/office/drawing/2014/main" id="{53EA8EA1-81A8-B737-460C-25AF55232870}"/>
              </a:ext>
            </a:extLst>
          </p:cNvPr>
          <p:cNvSpPr txBox="1"/>
          <p:nvPr/>
        </p:nvSpPr>
        <p:spPr>
          <a:xfrm>
            <a:off x="5444788" y="3129409"/>
            <a:ext cx="65253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000" noProof="0"/>
          </a:p>
          <a:p>
            <a:pPr lvl="0" algn="ctr"/>
            <a:r>
              <a:rPr lang="pt-BR" sz="2000" noProof="0"/>
              <a:t>Com necessidade de suporte ventilatório não invasivo (CPAP)</a:t>
            </a:r>
          </a:p>
          <a:p>
            <a:pPr algn="ctr"/>
            <a:r>
              <a:rPr lang="pt-BR" sz="2000" noProof="0"/>
              <a:t> </a:t>
            </a:r>
          </a:p>
          <a:p>
            <a:pPr lvl="0" algn="ctr"/>
            <a:r>
              <a:rPr lang="pt-BR" sz="2000" noProof="0"/>
              <a:t>Evoluiu com intolerância alimentar (Indicada nutrição parenteral)</a:t>
            </a:r>
          </a:p>
        </p:txBody>
      </p:sp>
      <p:sp>
        <p:nvSpPr>
          <p:cNvPr id="1032" name="Seta: para Baixo 1031">
            <a:extLst>
              <a:ext uri="{FF2B5EF4-FFF2-40B4-BE49-F238E27FC236}">
                <a16:creationId xmlns:a16="http://schemas.microsoft.com/office/drawing/2014/main" id="{61D44C8C-B065-767F-4BEA-284A9220DC6F}"/>
              </a:ext>
            </a:extLst>
          </p:cNvPr>
          <p:cNvSpPr/>
          <p:nvPr/>
        </p:nvSpPr>
        <p:spPr>
          <a:xfrm rot="16200000">
            <a:off x="4944979" y="169765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033" name="Seta: para Baixo 1032">
            <a:extLst>
              <a:ext uri="{FF2B5EF4-FFF2-40B4-BE49-F238E27FC236}">
                <a16:creationId xmlns:a16="http://schemas.microsoft.com/office/drawing/2014/main" id="{14B82FBD-8CAA-E0A4-25E1-EFBAC1B8042C}"/>
              </a:ext>
            </a:extLst>
          </p:cNvPr>
          <p:cNvSpPr/>
          <p:nvPr/>
        </p:nvSpPr>
        <p:spPr>
          <a:xfrm rot="16200000">
            <a:off x="10922378" y="5957735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3477365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 animBg="1"/>
      <p:bldP spid="1029" grpId="0"/>
      <p:bldP spid="1030" grpId="0"/>
      <p:bldP spid="1032" grpId="0" animBg="1"/>
      <p:bldP spid="103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29FEE4AC-E649-D6C6-34D9-0D2FF7504FB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1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35105226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029887B-E66E-75AA-6CE8-B42805046BD2}"/>
              </a:ext>
            </a:extLst>
          </p:cNvPr>
          <p:cNvSpPr txBox="1"/>
          <p:nvPr/>
        </p:nvSpPr>
        <p:spPr>
          <a:xfrm>
            <a:off x="6393909" y="1252387"/>
            <a:ext cx="5617991" cy="509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1º dia de vida: </a:t>
            </a:r>
            <a:r>
              <a:rPr lang="pt-BR" sz="2000" noProof="0" dirty="0"/>
              <a:t>Inserção de cateter umbilic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FC4162C-5BEB-6378-4C02-B9550632F851}"/>
              </a:ext>
            </a:extLst>
          </p:cNvPr>
          <p:cNvSpPr txBox="1"/>
          <p:nvPr/>
        </p:nvSpPr>
        <p:spPr>
          <a:xfrm>
            <a:off x="6096000" y="3572799"/>
            <a:ext cx="5721538" cy="18946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b="1" noProof="0" dirty="0"/>
              <a:t>3º dia de vida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Retirada do cateter umbilical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Inserção de cateter venoso central</a:t>
            </a:r>
            <a:r>
              <a:rPr lang="pt-BR" sz="2000" dirty="0"/>
              <a:t> (PICC)</a:t>
            </a:r>
            <a:endParaRPr lang="pt-BR" sz="2000" noProof="0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Local: membro superior direito</a:t>
            </a:r>
          </a:p>
        </p:txBody>
      </p:sp>
      <p:pic>
        <p:nvPicPr>
          <p:cNvPr id="2050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55DB6F08-7888-23D8-C06C-FEF341F2F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15255D0D-5543-4B45-62FD-F84C90093944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1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83BF4B8F-CB0A-A0BB-62A1-33395C070A4A}"/>
              </a:ext>
            </a:extLst>
          </p:cNvPr>
          <p:cNvSpPr/>
          <p:nvPr/>
        </p:nvSpPr>
        <p:spPr>
          <a:xfrm rot="16200000">
            <a:off x="5417591" y="162384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2FE1A5CE-0F1C-1632-A426-03715992F02D}"/>
              </a:ext>
            </a:extLst>
          </p:cNvPr>
          <p:cNvSpPr/>
          <p:nvPr/>
        </p:nvSpPr>
        <p:spPr>
          <a:xfrm>
            <a:off x="8956769" y="2362283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8F86DC93-BC11-2766-8FAE-4A3F9F134BBE}"/>
              </a:ext>
            </a:extLst>
          </p:cNvPr>
          <p:cNvSpPr/>
          <p:nvPr/>
        </p:nvSpPr>
        <p:spPr>
          <a:xfrm rot="16200000">
            <a:off x="11148857" y="59681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393493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/>
      <p:bldP spid="10" grpId="0" animBg="1"/>
      <p:bldP spid="11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DD651-8316-1F5E-41EE-1AE392AF9A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2287EA-98F6-5349-5C7D-6BC8A32FF6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287EA-98F6-5349-5C7D-6BC8A32FF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EC9AF25-A8F2-B9B9-183A-7CD566444635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6F185F5-7B08-4855-4F51-656816BCBBFA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159B876-BB53-4164-08C2-0BB1E190B00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CBB6C14-1A25-32BA-96D2-E8B424064E89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BF7B9FB-8AA7-40D2-593A-4356DAFE060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55F249E-75DF-CE2B-E2BE-624A2AF6D46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800512E-F9E6-1A32-8C0D-9E4AD1AB7CC2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339E644-435B-F54D-B120-AB76A046B91E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0A0FDBC-E899-4656-88B6-CCF06DAD15A6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85FECAF-F0EB-23B6-EE32-224CA983558F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096F3D2-2B6E-0FDA-4467-53191FF37D0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5B2530C-8E18-3C8D-FBBD-9F1176E25205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FCF731-58C9-7620-0E40-F3E62095E9C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6FA59B-2FA0-C055-308E-F3757B254E62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B990528-69D1-A61B-7510-26239CAE254A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8D87150-D6CE-3F8D-8556-336D3D874EC4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7B427FD-4AB2-90AC-5612-0D6494E54731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1FDB121-302D-8782-BEA1-85733716D502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AC974CB-478B-33E3-0345-803F0CA2F1E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FFE40C2-778B-02D0-82F1-8108B3100E8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ACA7DD5-1FCC-3A49-7036-9E1E39DFF915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3B24C0C-910B-A4E6-2A8B-695D8774C05B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BFFA13B-5656-2D96-907E-AE09E424B6CC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A2BF258-7CA2-F21C-7556-6C8DC893A800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6805D49-414B-9F99-204B-A63C199583CB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71D5994-7220-902F-8BA7-B18C8B0A7224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A0969CB-853A-7CFC-5DEB-F67B009D894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4FC9D5C-5BA2-7E87-75E2-E919A6D2C3A7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8FC556E-E87E-5709-088F-8D9CFB5B58AD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2716D05-E7DB-168C-636B-2884DD5D7DFA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D587560-E26B-076B-A695-2A8DCA68E4E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F7D3B35-7573-512F-5443-687D2D7EF20A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8686C91-B3D2-884B-6A58-5701BEF0ACBC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6DB79E5-7B6A-0885-A6E7-6D3B05CE80FE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3E09769-656F-D5E1-1A8D-0E70E2391D45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B14FEA2-A758-B416-D27D-5D93659941AC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716B445-C497-4DBC-AAA2-030247ECE75E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1C10E2F-9893-EABA-4D7F-88CA980C834D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1D831F-6093-BBFC-2437-084A5779647D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0720AEA-86A9-20C0-DCD7-C51275B3EB33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8468E77-EFE7-D0EF-A544-616D020C45BC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EDF81C2-2A8D-3C57-F6B0-FB10990531A5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BB7B03-23A5-7BD6-1DF0-248190F8372D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A3FFF70-1358-4D4E-0D5A-61F7A6CA3731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92C53DC4-B3BD-A1FF-860B-8CF23D794EC8}"/>
              </a:ext>
            </a:extLst>
          </p:cNvPr>
          <p:cNvSpPr txBox="1"/>
          <p:nvPr/>
        </p:nvSpPr>
        <p:spPr>
          <a:xfrm>
            <a:off x="3489068" y="2123658"/>
            <a:ext cx="5213864" cy="2356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/>
              <a:t>Situação clínica até o 9º dia de vida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RN estável em CPAP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Sem sinais clínicos de infecção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Exame abdominal sem alteraçõe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Evacuação presente, padrão normal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A930F38-09B2-1B27-18AE-323947C12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00BE3E53-8269-4A4F-4963-294F9A436EF4}"/>
              </a:ext>
            </a:extLst>
          </p:cNvPr>
          <p:cNvSpPr/>
          <p:nvPr/>
        </p:nvSpPr>
        <p:spPr>
          <a:xfrm rot="16200000">
            <a:off x="2073691" y="3157792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37269228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29FEE4AC-E649-D6C6-34D9-0D2FF7504FB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2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29600449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8258B-4B4A-CC8C-7976-89E05D13B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364313C-3FAE-323D-DED7-298AEB5F8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64313C-3FAE-323D-DED7-298AEB5F8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89AD7BF1-B019-D166-2250-90E7F1AF7377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4844F8A-35FE-F32A-5CB9-D683C5ADEAAC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008C7E4-38A6-75EC-3AA2-074EB513461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D3F8E61-4DCA-5E3B-7338-AC777C62DFD0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8C766D1-FC79-AB19-456D-71831E873A7E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6877709-171D-BDBB-135A-ADD812FD8C53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141078-5E49-B73E-CF00-A9334454AFC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0E900A9-DA6E-997E-0CBD-DC7B6F10522F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5B18B1B-A25C-D99D-E5E5-91EA0EFB0982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58C6E84-5703-0F53-0DF6-76ED316C845D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5CB9FCC-BC05-EDF7-ACE0-9FA1CD9B66F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F93653D-A5D0-0830-644A-8F8ADEEC20EA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5276F53-230F-832B-4699-3A2A0841C2D7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771D839-B80C-43DE-7819-78CE3B703292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BF32691-986D-3B7E-6AB9-E49CFBF6B116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1B6171F-75B0-811A-5BC6-59BE945BCEB2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DF26166-19DB-7361-9D18-A0D9DBAE56F4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990226A-F401-F876-A543-6B43ADEC184B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BFB95F9-B105-3F91-620D-1EDCCC2B1A87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3B1BCEC-D2AA-A523-F7DB-61F9F1E551C9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29761D0-454E-6821-8AC9-991117A2781C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85C7962-B149-E4A1-A0CC-4A6CCE094BA8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8F3A74A-71AC-EED1-438C-929F6C3393A5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7F06CE9-D161-9D6E-63C9-742B81690469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6572BA2-CB55-115C-BC0A-E0A44D8913EB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CB8C8D0-7A14-EA9E-6BE3-5D4B89104791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EB0EE7BE-CE5E-90A9-389F-EE9788E071A5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0E4B58C-F34C-309D-BB41-820F9009AB9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1AEAC4E-486C-03BD-C887-3B1DD0AE0831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6726DE8-0504-23B8-D349-C1F3C722785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3F3019F-9178-A402-C1C1-9E12821EC6B9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A87D604-2228-408E-7F2A-67F4B6AD4B3C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C2AC9C5-BB62-5B81-FDEC-500F37C6492B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D9CA591-F91A-A9C8-02EB-421BEC9BACD6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0AC0D7D-A869-581A-282A-51964A7A7F36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EC9CF4B-D849-B3EE-FBBE-39EC0A8913B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C103A1D-11A9-91AC-8FF1-DE18BE85FF19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16CEDF2-62E0-77DE-BA81-D1E13F8F2CE3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067B834-DA5D-EC1A-D1D8-964228310DE0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5BFB2F2-621F-1FEF-D01B-7E7E276C70F5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CEE132D-B6BF-89D7-F4B3-3FE30358DEC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94BDEBB-4825-B86B-87FD-0C444EC6BE1F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F7A9459-07C9-42E7-F128-7AF1B64AB962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C922B032-DA25-32C7-479C-F9BD932F6D7D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EC89B127-86ED-85D6-1E06-A8A4A69821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82B9437-4B4B-5F61-48D3-705CC391C0E5}"/>
              </a:ext>
            </a:extLst>
          </p:cNvPr>
          <p:cNvSpPr txBox="1"/>
          <p:nvPr/>
        </p:nvSpPr>
        <p:spPr>
          <a:xfrm>
            <a:off x="6206836" y="970986"/>
            <a:ext cx="5844752" cy="327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10º dia de vida:</a:t>
            </a:r>
          </a:p>
          <a:p>
            <a:pPr>
              <a:lnSpc>
                <a:spcPct val="150000"/>
              </a:lnSpc>
            </a:pPr>
            <a:r>
              <a:rPr lang="pt-BR" sz="2000" noProof="0" dirty="0"/>
              <a:t>RN evolui com piora clínica progressiva: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Apneias frequentes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Necessidade de aumento de </a:t>
            </a:r>
            <a:r>
              <a:rPr lang="pt-BR" sz="2000" noProof="0" dirty="0" err="1"/>
              <a:t>FiO</a:t>
            </a:r>
            <a:r>
              <a:rPr lang="pt-BR" sz="2000" noProof="0" dirty="0"/>
              <a:t>₂ e dos parâmetros da ventilação não invasiva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Taquicardia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Hipoatividade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4973FDD5-9C77-97F1-14B2-9FF9DFCEC34D}"/>
              </a:ext>
            </a:extLst>
          </p:cNvPr>
          <p:cNvSpPr txBox="1"/>
          <p:nvPr/>
        </p:nvSpPr>
        <p:spPr>
          <a:xfrm>
            <a:off x="6206835" y="4250602"/>
            <a:ext cx="4636963" cy="971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Abdome flácido</a:t>
            </a:r>
          </a:p>
          <a:p>
            <a:pPr marL="342900" lvl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Evacuação presente</a:t>
            </a:r>
          </a:p>
        </p:txBody>
      </p:sp>
      <p:pic>
        <p:nvPicPr>
          <p:cNvPr id="6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9C456EBE-93BD-E9A8-AD6A-573CA0115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890F116D-F4C8-F7F8-CCB7-4E5FDEB23C55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2</a:t>
            </a:r>
          </a:p>
        </p:txBody>
      </p:sp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B2F4D9B7-B4CE-DEE6-EF75-F6DDFF4C575F}"/>
              </a:ext>
            </a:extLst>
          </p:cNvPr>
          <p:cNvSpPr/>
          <p:nvPr/>
        </p:nvSpPr>
        <p:spPr>
          <a:xfrm rot="16200000">
            <a:off x="5007544" y="1298171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DEB9D6F1-4260-D5B8-EF04-59B879E3D942}"/>
              </a:ext>
            </a:extLst>
          </p:cNvPr>
          <p:cNvSpPr/>
          <p:nvPr/>
        </p:nvSpPr>
        <p:spPr>
          <a:xfrm rot="16200000">
            <a:off x="11148857" y="59681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845825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8236E1-460E-B9C1-EC74-E8BD5FFA26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7014BFB-B533-7795-5BA8-4620C84AE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14BFB-B533-7795-5BA8-4620C84AE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1238B09C-EADF-2A8E-83EB-CC59F5FD4D29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BBEEC2A-88D1-9588-3789-638B30D79368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243E30E-A0EF-5AD6-0907-760CAFBEB6AE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47F9F35-14DF-7460-07F3-92D839CC9B13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FE79CE1-0DDF-BB6C-1F5A-AEEB79EDAA8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7003A17-C4D1-F0B0-A3B6-96AD04D7DCB6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D62B934-8A36-BDA9-4669-182DDA56DB43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3A6EF73-F8F5-8A0B-E41C-F3DF28DDE2BE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8572498-27AF-8EC8-ACD5-B8C4E26421A6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F72BDBE-8362-4AE9-FC8F-22316D5F695A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DEB0778-DA54-38EA-82FB-12185F2D92B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094A6A3-D349-BDA1-1BE7-87CC081B96A5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C47D559-599E-8D77-3D35-7450D29C302F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F4C7681-79AC-C5DD-DB24-7F1CF0FAC28A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CFDA662-3B57-3BAC-02CF-20D4A73A9869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C1AEBA8-5088-D525-1852-2EBE0BF01314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A95FD7-FBB7-F6DF-4D1C-5F74CDE283E6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0CC0686-D2B1-696C-79A4-FCCE0AF81FD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963D08F-4BBB-0DDC-166B-67B6D75514B9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1F7E0AA-2BD3-CE0E-3DF7-115922CB0D6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D86F8DD-8E63-714F-E5B0-9C89A00607C6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325BE9F-436A-1969-D862-790B3F5A541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0FD6CBB-95BD-B81C-D5F0-4407341520F0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8D1582B-B344-C7B7-C234-FB857C1A0EF5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AFF9147-325F-9172-6158-B9BD6D4C7B0A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CC2DDFF-7A4C-DF55-A328-B8BD1792A597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528CBE0-C29F-53D6-0F4B-80DEA4CF0654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DAD070D-6FA1-E26F-8222-A76F8405060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677F533-5E0C-007F-C8C8-F8DBC86A03A1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4A8FEE2-D0E4-328E-842B-B71F6E67B733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E1854FA-2279-F12A-C758-31DB01CC5EDA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0A5E288-A05C-EAFA-3D98-29D56630071F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22ACFFF-1834-D862-0279-A05CB4D0AE9A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D654277-41DB-CEEA-2621-E0DC4F5207F9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7D52387-618B-C0A9-AB6F-8E205B3D6225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54EBFC7-4B75-8B69-3039-2F0252675183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DAB047C-9A7C-F004-B3F8-31C6196F7276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8C7A606-AB6F-BFA0-8082-799914C010AA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F6083F8-4D71-3398-DF27-E13F34ECEA80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2E961AC-92A6-2673-D8B9-449ECECD9EF2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94B0C21-7BD4-1E08-3367-FB1976DA4A6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1152F20-C339-ED04-4576-270868EEDD55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4901FD8-0907-6FBE-A525-E500C3D572E8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7479458-B676-078C-08CC-3366CE23E7A3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E06676BC-70A4-3059-E12E-E1057F821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6456706-A47A-783D-CE26-26A0D2A9C64E}"/>
              </a:ext>
            </a:extLst>
          </p:cNvPr>
          <p:cNvSpPr txBox="1"/>
          <p:nvPr/>
        </p:nvSpPr>
        <p:spPr>
          <a:xfrm>
            <a:off x="1102800" y="1318002"/>
            <a:ext cx="4868085" cy="4748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/>
              <a:t>Investigação de sepse neonatal – 11º dia </a:t>
            </a:r>
            <a:r>
              <a:rPr lang="pt-BR" sz="2000" noProof="0"/>
              <a:t>Indicada coleta de exames:</a:t>
            </a:r>
          </a:p>
          <a:p>
            <a:pPr>
              <a:lnSpc>
                <a:spcPct val="150000"/>
              </a:lnSpc>
            </a:pPr>
            <a:r>
              <a:rPr lang="pt-BR" sz="2000" noProof="0"/>
              <a:t>Hemograma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Leucopenia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Neutropenia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Presença de granulações tóxicas em neutrófilos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PCR: 7,5 mg/</a:t>
            </a:r>
            <a:r>
              <a:rPr lang="pt-BR" sz="2000" noProof="0" err="1"/>
              <a:t>dL</a:t>
            </a:r>
            <a:r>
              <a:rPr lang="pt-BR" sz="2000" noProof="0"/>
              <a:t> (Valor prévio: 0,4 mg/</a:t>
            </a:r>
            <a:r>
              <a:rPr lang="pt-BR" sz="2000" noProof="0" err="1"/>
              <a:t>dL</a:t>
            </a:r>
            <a:r>
              <a:rPr lang="pt-BR" sz="2000" noProof="0"/>
              <a:t>)</a:t>
            </a:r>
          </a:p>
          <a:p>
            <a:pPr>
              <a:lnSpc>
                <a:spcPct val="150000"/>
              </a:lnSpc>
            </a:pPr>
            <a:endParaRPr lang="pt-BR" sz="2400" noProof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BEF786E-C55B-B595-042A-5FB6D24E53F2}"/>
              </a:ext>
            </a:extLst>
          </p:cNvPr>
          <p:cNvSpPr txBox="1"/>
          <p:nvPr/>
        </p:nvSpPr>
        <p:spPr>
          <a:xfrm>
            <a:off x="6923134" y="1335262"/>
            <a:ext cx="5056533" cy="3833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noProof="0"/>
              <a:t>Exames de imagem</a:t>
            </a:r>
            <a:endParaRPr lang="pt-BR" noProof="0"/>
          </a:p>
          <a:p>
            <a:pPr lvl="0">
              <a:lnSpc>
                <a:spcPct val="150000"/>
              </a:lnSpc>
            </a:pPr>
            <a:r>
              <a:rPr lang="pt-BR" b="1" noProof="0"/>
              <a:t>Radiografia de tórax:</a:t>
            </a:r>
            <a:endParaRPr lang="pt-BR" noProof="0"/>
          </a:p>
          <a:p>
            <a:pPr lvl="1">
              <a:lnSpc>
                <a:spcPct val="150000"/>
              </a:lnSpc>
            </a:pPr>
            <a:r>
              <a:rPr lang="pt-BR" noProof="0"/>
              <a:t>Sem alterações em relação aos exames anteriores</a:t>
            </a:r>
          </a:p>
          <a:p>
            <a:pPr lvl="0">
              <a:lnSpc>
                <a:spcPct val="150000"/>
              </a:lnSpc>
            </a:pPr>
            <a:r>
              <a:rPr lang="pt-BR" b="1" noProof="0"/>
              <a:t>Radiografia de abdome:</a:t>
            </a:r>
            <a:endParaRPr lang="pt-BR" noProof="0"/>
          </a:p>
          <a:p>
            <a:pPr lvl="1">
              <a:lnSpc>
                <a:spcPct val="150000"/>
              </a:lnSpc>
            </a:pPr>
            <a:r>
              <a:rPr lang="pt-BR" noProof="0"/>
              <a:t>Sem alterações em relação aos exames anteriores</a:t>
            </a:r>
          </a:p>
          <a:p>
            <a:pPr>
              <a:lnSpc>
                <a:spcPct val="150000"/>
              </a:lnSpc>
            </a:pPr>
            <a:r>
              <a:rPr lang="pt-BR" noProof="0"/>
              <a:t> </a:t>
            </a:r>
          </a:p>
          <a:p>
            <a:pPr>
              <a:lnSpc>
                <a:spcPct val="150000"/>
              </a:lnSpc>
            </a:pPr>
            <a:endParaRPr lang="pt-BR" sz="2000" noProof="0"/>
          </a:p>
        </p:txBody>
      </p:sp>
      <p:sp>
        <p:nvSpPr>
          <p:cNvPr id="6" name="Seta: para Baixo 5">
            <a:extLst>
              <a:ext uri="{FF2B5EF4-FFF2-40B4-BE49-F238E27FC236}">
                <a16:creationId xmlns:a16="http://schemas.microsoft.com/office/drawing/2014/main" id="{F415E1B3-7887-191B-9D39-EC86DEDD145F}"/>
              </a:ext>
            </a:extLst>
          </p:cNvPr>
          <p:cNvSpPr/>
          <p:nvPr/>
        </p:nvSpPr>
        <p:spPr>
          <a:xfrm rot="16200000">
            <a:off x="420824" y="157779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7" name="Seta: para Baixo 6">
            <a:extLst>
              <a:ext uri="{FF2B5EF4-FFF2-40B4-BE49-F238E27FC236}">
                <a16:creationId xmlns:a16="http://schemas.microsoft.com/office/drawing/2014/main" id="{526D5921-C7D0-1359-11B7-FF0DFBCB3973}"/>
              </a:ext>
            </a:extLst>
          </p:cNvPr>
          <p:cNvSpPr/>
          <p:nvPr/>
        </p:nvSpPr>
        <p:spPr>
          <a:xfrm rot="16200000">
            <a:off x="11301257" y="61205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55B89536-3E45-9EC0-26D8-3ACCDFE64FDA}"/>
              </a:ext>
            </a:extLst>
          </p:cNvPr>
          <p:cNvSpPr/>
          <p:nvPr/>
        </p:nvSpPr>
        <p:spPr>
          <a:xfrm rot="16200000">
            <a:off x="6423325" y="203499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A18DFA61-8302-30EF-152B-827FE8D5B874}"/>
              </a:ext>
            </a:extLst>
          </p:cNvPr>
          <p:cNvSpPr/>
          <p:nvPr/>
        </p:nvSpPr>
        <p:spPr>
          <a:xfrm>
            <a:off x="9222094" y="445266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CE3CC11-6D47-2210-785E-4A8D75204547}"/>
              </a:ext>
            </a:extLst>
          </p:cNvPr>
          <p:cNvSpPr txBox="1"/>
          <p:nvPr/>
        </p:nvSpPr>
        <p:spPr>
          <a:xfrm>
            <a:off x="7664183" y="5273176"/>
            <a:ext cx="4868085" cy="467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noProof="0"/>
              <a:t>Coletadas hemoculturas</a:t>
            </a:r>
          </a:p>
        </p:txBody>
      </p:sp>
    </p:spTree>
    <p:extLst>
      <p:ext uri="{BB962C8B-B14F-4D97-AF65-F5344CB8AC3E}">
        <p14:creationId xmlns:p14="http://schemas.microsoft.com/office/powerpoint/2010/main" val="690823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8" grpId="0" animBg="1"/>
      <p:bldP spid="9" grpId="0" animBg="1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29FEE4AC-E649-D6C6-34D9-0D2FF7504FB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3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8875254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B4986-7A93-9B67-FB51-428054CDF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BE01541-B562-8435-C736-5597199F3F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01541-B562-8435-C736-5597199F3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A7DB-21A2-F9EC-BD44-E349F2723AA5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81A29AA-B57F-51F8-CBDA-4F262CC82C50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B6B6F3F-A393-7D8A-3024-79B61B2EE8CF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2C880E4-C5D0-D2E5-EA35-9F618FE3F6FB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E6DB8C4-5F76-E0F5-52CD-8ED2C60F0B63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37CE551-6DB6-5EFB-6EE9-023E76E719A8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6D55A44-9A91-01A5-1A0D-B96BF038E88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8B1CE15-85FA-898F-C031-5C9692EE2138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D7E0A17-9219-A92E-2479-6133D66B701F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2668891-E5A8-870F-BBB2-BFA9BD1DA85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54077F7-34F3-F58A-A440-AA7F1039987F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F9F6B80-2510-EB00-5D06-35C8B68D4A63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FFE60BE-46F4-D4F4-A54E-FB78E7A8AA17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7C3F07-7FA1-9225-14A4-DF04365DC0A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040EA92-3600-58A1-D54A-D572745716A3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0BED5A4-046F-0C6A-1BFA-79F71A74FC0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C1DC553-CC26-BA04-C2B7-4939B8B7DA9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D30445D-5D69-63DE-C8C6-A47EE39F2FFE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4FD5DD5-DCB4-5484-6CAB-84488C068956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7B312F2-5EA2-0F75-9D54-4EA12B9A32C9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38986A9-13A1-E9CE-E04A-22238258EAE0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03438CE-65E9-4F05-1E6C-8CFDCD9B0870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8B190A-A029-5EC8-F334-F6CB9B81C3D2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68B7533-EB29-0934-9745-8E4C67D41D76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A5C8DB8-EF12-8E6B-2746-BA0CFD00500B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1C7AE87-FDAB-57F5-2B5A-2E407AA3BF52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D9F8977-1DF6-77C1-08F1-A1F7A4097138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C099349-7A12-EDFF-2255-EAA521059403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F4B0E80-A13B-B6A3-3B55-1AFC059F0DBF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1233C02-1332-D077-FA9F-658B109AE226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11CCD55-F0F8-1A34-1116-B292E272140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6CDCCA-D217-AA16-E8D6-69C47E5F0FC8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45FC2-4C86-ED30-52D4-CAC7CC642150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A06A65F-DE69-753F-9EEC-A100B8402AC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A16425B-7077-55CB-BDD1-9594BF95A097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01C7632-6733-CCC5-3022-C9A206C706C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99642FC-0ABA-B733-5649-7BD21E10AF83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B1EB4A7-7D14-24DA-A2A9-CA2B8BBCBA74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E15CB98-9FDD-9FBE-3C62-BE7C8973D189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367DE35-3D30-FBF4-85A1-AF3828E6CB46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3DF0E08-925A-7E7C-C511-B5DD51F656D1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5E16270-8193-9FA8-72FA-0CB6F990DAB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377AE9F-55BC-B63A-A3B7-1310A127388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C4011B07-78A6-BE80-D459-BE69659654E7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B8A477DA-EA6B-88C7-5722-5F1F1313F132}"/>
              </a:ext>
            </a:extLst>
          </p:cNvPr>
          <p:cNvSpPr txBox="1"/>
          <p:nvPr/>
        </p:nvSpPr>
        <p:spPr>
          <a:xfrm>
            <a:off x="5869196" y="1225059"/>
            <a:ext cx="6105884" cy="32796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Resultados das Hemoculturas 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b="1" dirty="0"/>
              <a:t>(coletada no 11º</a:t>
            </a:r>
            <a:r>
              <a:rPr lang="pt-BR" sz="2000" b="1" noProof="0" dirty="0"/>
              <a:t> dia de vida</a:t>
            </a:r>
            <a:r>
              <a:rPr lang="pt-BR" sz="2000" b="1" dirty="0"/>
              <a:t>)</a:t>
            </a:r>
            <a:endParaRPr lang="pt-BR" sz="2000" noProof="0" dirty="0"/>
          </a:p>
          <a:p>
            <a:pPr lvl="0">
              <a:lnSpc>
                <a:spcPct val="150000"/>
              </a:lnSpc>
            </a:pPr>
            <a:r>
              <a:rPr lang="pt-BR" sz="2000" b="1" noProof="0" dirty="0"/>
              <a:t>Hemocultura periférica 1:</a:t>
            </a:r>
            <a:endParaRPr lang="pt-BR" sz="2000" noProof="0" dirty="0"/>
          </a:p>
          <a:p>
            <a:pPr lvl="1">
              <a:lnSpc>
                <a:spcPct val="150000"/>
              </a:lnSpc>
            </a:pPr>
            <a:r>
              <a:rPr lang="pt-BR" sz="2000" noProof="0" dirty="0"/>
              <a:t>Positiva para </a:t>
            </a:r>
            <a:r>
              <a:rPr lang="pt-BR" sz="2000" i="1" noProof="0" dirty="0" err="1"/>
              <a:t>Staphylococcus</a:t>
            </a:r>
            <a:r>
              <a:rPr lang="pt-BR" sz="2000" i="1" noProof="0" dirty="0"/>
              <a:t> coagulase-negativo</a:t>
            </a:r>
            <a:endParaRPr lang="pt-BR" sz="2000" noProof="0" dirty="0"/>
          </a:p>
          <a:p>
            <a:pPr lvl="0">
              <a:lnSpc>
                <a:spcPct val="150000"/>
              </a:lnSpc>
            </a:pPr>
            <a:r>
              <a:rPr lang="pt-BR" sz="2000" b="1" noProof="0" dirty="0"/>
              <a:t>Hemocultura periférica 2: coletada 12 horas da primeira</a:t>
            </a:r>
            <a:endParaRPr lang="pt-BR" sz="2000" noProof="0" dirty="0"/>
          </a:p>
          <a:p>
            <a:pPr lvl="1">
              <a:lnSpc>
                <a:spcPct val="150000"/>
              </a:lnSpc>
            </a:pPr>
            <a:r>
              <a:rPr lang="pt-BR" sz="2000" noProof="0" dirty="0"/>
              <a:t>Positiva para </a:t>
            </a:r>
            <a:r>
              <a:rPr lang="pt-BR" sz="2000" i="1" noProof="0" dirty="0" err="1"/>
              <a:t>Staphylococcus</a:t>
            </a:r>
            <a:r>
              <a:rPr lang="pt-BR" sz="2000" i="1" noProof="0" dirty="0"/>
              <a:t> coagulase-negativo</a:t>
            </a:r>
            <a:endParaRPr lang="pt-BR" sz="2000" noProof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09326EB-A434-6627-774D-C44FA32999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3DF9C104-5EBA-1504-6077-258B1DF69F30}"/>
              </a:ext>
            </a:extLst>
          </p:cNvPr>
          <p:cNvSpPr/>
          <p:nvPr/>
        </p:nvSpPr>
        <p:spPr>
          <a:xfrm rot="16200000">
            <a:off x="11301257" y="61205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0665D349-5130-0084-29AF-29BB6779027C}"/>
              </a:ext>
            </a:extLst>
          </p:cNvPr>
          <p:cNvSpPr/>
          <p:nvPr/>
        </p:nvSpPr>
        <p:spPr>
          <a:xfrm rot="16200000">
            <a:off x="4982927" y="2566855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pic>
        <p:nvPicPr>
          <p:cNvPr id="7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21B87559-201F-D0BF-7EE7-871B944BC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709B5953-1D70-6176-245E-CC597F5F4883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3</a:t>
            </a:r>
          </a:p>
        </p:txBody>
      </p:sp>
    </p:spTree>
    <p:extLst>
      <p:ext uri="{BB962C8B-B14F-4D97-AF65-F5344CB8AC3E}">
        <p14:creationId xmlns:p14="http://schemas.microsoft.com/office/powerpoint/2010/main" val="2450670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animBg="1"/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C4266-8C84-6093-4883-71E25F0A7D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F842211-4F87-5560-3B8E-FFCB6E02A0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42211-4F87-5560-3B8E-FFCB6E0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F28E325-E83E-0B2A-C672-8A8C1D6AAEE4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nstrução dos indicadore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7FB3C1AD-0F30-4230-916D-88FC8E47A0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910" t="23902" r="14573" b="3440"/>
          <a:stretch/>
        </p:blipFill>
        <p:spPr>
          <a:xfrm>
            <a:off x="1450699" y="932492"/>
            <a:ext cx="9812511" cy="5687090"/>
          </a:xfrm>
          <a:prstGeom prst="rect">
            <a:avLst/>
          </a:prstGeom>
          <a:ln w="28575">
            <a:solidFill>
              <a:srgbClr val="49306E"/>
            </a:solidFill>
          </a:ln>
        </p:spPr>
      </p:pic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EDC820DE-82D4-B0DA-7EF4-A9E2FF6314D9}"/>
              </a:ext>
            </a:extLst>
          </p:cNvPr>
          <p:cNvSpPr/>
          <p:nvPr/>
        </p:nvSpPr>
        <p:spPr>
          <a:xfrm>
            <a:off x="1848971" y="1640541"/>
            <a:ext cx="463923" cy="208430"/>
          </a:xfrm>
          <a:prstGeom prst="rightArrow">
            <a:avLst/>
          </a:prstGeom>
          <a:solidFill>
            <a:srgbClr val="8FC640"/>
          </a:solidFill>
          <a:ln>
            <a:solidFill>
              <a:srgbClr val="8FC6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: para a Direita 8">
            <a:extLst>
              <a:ext uri="{FF2B5EF4-FFF2-40B4-BE49-F238E27FC236}">
                <a16:creationId xmlns:a16="http://schemas.microsoft.com/office/drawing/2014/main" id="{EDD1AE5F-EB39-53CF-E710-68F602FBEA82}"/>
              </a:ext>
            </a:extLst>
          </p:cNvPr>
          <p:cNvSpPr/>
          <p:nvPr/>
        </p:nvSpPr>
        <p:spPr>
          <a:xfrm>
            <a:off x="5632077" y="3104030"/>
            <a:ext cx="463923" cy="208430"/>
          </a:xfrm>
          <a:prstGeom prst="rightArrow">
            <a:avLst/>
          </a:prstGeom>
          <a:solidFill>
            <a:srgbClr val="8FC640"/>
          </a:solidFill>
          <a:ln>
            <a:solidFill>
              <a:srgbClr val="8FC6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Seta: para a Direita 10">
            <a:extLst>
              <a:ext uri="{FF2B5EF4-FFF2-40B4-BE49-F238E27FC236}">
                <a16:creationId xmlns:a16="http://schemas.microsoft.com/office/drawing/2014/main" id="{B9128F0B-FA3D-3CE3-71D1-91ED9DC37B8A}"/>
              </a:ext>
            </a:extLst>
          </p:cNvPr>
          <p:cNvSpPr/>
          <p:nvPr/>
        </p:nvSpPr>
        <p:spPr>
          <a:xfrm>
            <a:off x="2492189" y="4542865"/>
            <a:ext cx="463923" cy="208430"/>
          </a:xfrm>
          <a:prstGeom prst="rightArrow">
            <a:avLst/>
          </a:prstGeom>
          <a:solidFill>
            <a:srgbClr val="8FC640"/>
          </a:solidFill>
          <a:ln>
            <a:solidFill>
              <a:srgbClr val="8FC6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5BE19E97-9342-BB79-476E-2A90D4ADAB30}"/>
              </a:ext>
            </a:extLst>
          </p:cNvPr>
          <p:cNvSpPr/>
          <p:nvPr/>
        </p:nvSpPr>
        <p:spPr>
          <a:xfrm>
            <a:off x="4865594" y="6069106"/>
            <a:ext cx="463923" cy="208430"/>
          </a:xfrm>
          <a:prstGeom prst="rightArrow">
            <a:avLst/>
          </a:prstGeom>
          <a:solidFill>
            <a:srgbClr val="8FC640"/>
          </a:solidFill>
          <a:ln>
            <a:solidFill>
              <a:srgbClr val="8FC6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59" name="Group 12">
            <a:extLst>
              <a:ext uri="{FF2B5EF4-FFF2-40B4-BE49-F238E27FC236}">
                <a16:creationId xmlns:a16="http://schemas.microsoft.com/office/drawing/2014/main" id="{1E27E79C-E5E1-147D-0BF2-82D873E4BF4C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60" name="Freeform: Shape 13">
              <a:extLst>
                <a:ext uri="{FF2B5EF4-FFF2-40B4-BE49-F238E27FC236}">
                  <a16:creationId xmlns:a16="http://schemas.microsoft.com/office/drawing/2014/main" id="{9A3DD916-386E-E3FB-B446-1326C88A4F59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1" name="Freeform: Shape 16">
              <a:extLst>
                <a:ext uri="{FF2B5EF4-FFF2-40B4-BE49-F238E27FC236}">
                  <a16:creationId xmlns:a16="http://schemas.microsoft.com/office/drawing/2014/main" id="{FC1E23D6-EBAE-F982-6848-D3F44DA34DF9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2" name="Freeform: Shape 17">
              <a:extLst>
                <a:ext uri="{FF2B5EF4-FFF2-40B4-BE49-F238E27FC236}">
                  <a16:creationId xmlns:a16="http://schemas.microsoft.com/office/drawing/2014/main" id="{4B97061D-0BFF-D68D-1839-AE5E134A9174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3" name="Freeform: Shape 18">
              <a:extLst>
                <a:ext uri="{FF2B5EF4-FFF2-40B4-BE49-F238E27FC236}">
                  <a16:creationId xmlns:a16="http://schemas.microsoft.com/office/drawing/2014/main" id="{0E9AA454-E1B5-A00E-0C78-AA2E72ED803D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24" name="Freeform: Shape 19">
              <a:extLst>
                <a:ext uri="{FF2B5EF4-FFF2-40B4-BE49-F238E27FC236}">
                  <a16:creationId xmlns:a16="http://schemas.microsoft.com/office/drawing/2014/main" id="{0DA5B9F5-A0E3-8F1A-A079-9FA2334431C4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25" name="Freeform: Shape 20">
              <a:extLst>
                <a:ext uri="{FF2B5EF4-FFF2-40B4-BE49-F238E27FC236}">
                  <a16:creationId xmlns:a16="http://schemas.microsoft.com/office/drawing/2014/main" id="{31EA72AE-ED2A-68EB-F33D-D2218B92D46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1" name="Freeform: Shape 21">
              <a:extLst>
                <a:ext uri="{FF2B5EF4-FFF2-40B4-BE49-F238E27FC236}">
                  <a16:creationId xmlns:a16="http://schemas.microsoft.com/office/drawing/2014/main" id="{E24F4E75-0FA2-79DE-8555-1AA05C90CBEA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4" name="Freeform: Shape 22">
              <a:extLst>
                <a:ext uri="{FF2B5EF4-FFF2-40B4-BE49-F238E27FC236}">
                  <a16:creationId xmlns:a16="http://schemas.microsoft.com/office/drawing/2014/main" id="{EB2CE022-B324-91AB-B553-86531F397ED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5" name="Freeform: Shape 23">
              <a:extLst>
                <a:ext uri="{FF2B5EF4-FFF2-40B4-BE49-F238E27FC236}">
                  <a16:creationId xmlns:a16="http://schemas.microsoft.com/office/drawing/2014/main" id="{E3F5C630-6DC2-A71D-8B8C-955662E0AC3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6" name="Freeform: Shape 24">
              <a:extLst>
                <a:ext uri="{FF2B5EF4-FFF2-40B4-BE49-F238E27FC236}">
                  <a16:creationId xmlns:a16="http://schemas.microsoft.com/office/drawing/2014/main" id="{11537D93-0AD1-EE73-209E-C0772B8B300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7" name="Freeform: Shape 25">
              <a:extLst>
                <a:ext uri="{FF2B5EF4-FFF2-40B4-BE49-F238E27FC236}">
                  <a16:creationId xmlns:a16="http://schemas.microsoft.com/office/drawing/2014/main" id="{12091C8F-7E02-933D-4AD4-534785E4D29A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8" name="Freeform: Shape 26">
              <a:extLst>
                <a:ext uri="{FF2B5EF4-FFF2-40B4-BE49-F238E27FC236}">
                  <a16:creationId xmlns:a16="http://schemas.microsoft.com/office/drawing/2014/main" id="{2EBF8D1C-15BB-6B17-D7B0-E22DADA214DD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39" name="Freeform: Shape 27">
              <a:extLst>
                <a:ext uri="{FF2B5EF4-FFF2-40B4-BE49-F238E27FC236}">
                  <a16:creationId xmlns:a16="http://schemas.microsoft.com/office/drawing/2014/main" id="{22960EAE-B499-9A1F-59FC-A7A2BBCB3889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0" name="Freeform: Shape 28">
              <a:extLst>
                <a:ext uri="{FF2B5EF4-FFF2-40B4-BE49-F238E27FC236}">
                  <a16:creationId xmlns:a16="http://schemas.microsoft.com/office/drawing/2014/main" id="{3FC3C9A3-4EF6-B53B-5040-07241164212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1" name="Freeform: Shape 29">
              <a:extLst>
                <a:ext uri="{FF2B5EF4-FFF2-40B4-BE49-F238E27FC236}">
                  <a16:creationId xmlns:a16="http://schemas.microsoft.com/office/drawing/2014/main" id="{ADEC0F17-3682-86FB-E8F8-C4EC84E4A3E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2" name="Freeform: Shape 30">
              <a:extLst>
                <a:ext uri="{FF2B5EF4-FFF2-40B4-BE49-F238E27FC236}">
                  <a16:creationId xmlns:a16="http://schemas.microsoft.com/office/drawing/2014/main" id="{FBE452EE-CA48-798E-463D-9DE31A5C5C9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3" name="Freeform: Shape 31">
              <a:extLst>
                <a:ext uri="{FF2B5EF4-FFF2-40B4-BE49-F238E27FC236}">
                  <a16:creationId xmlns:a16="http://schemas.microsoft.com/office/drawing/2014/main" id="{350AA1DC-1396-0F38-B313-8F62BA41DE9E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4" name="Freeform: Shape 32">
              <a:extLst>
                <a:ext uri="{FF2B5EF4-FFF2-40B4-BE49-F238E27FC236}">
                  <a16:creationId xmlns:a16="http://schemas.microsoft.com/office/drawing/2014/main" id="{975F1BD1-C613-B3D2-3EF4-F9E0F72933E0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5" name="Freeform: Shape 33">
              <a:extLst>
                <a:ext uri="{FF2B5EF4-FFF2-40B4-BE49-F238E27FC236}">
                  <a16:creationId xmlns:a16="http://schemas.microsoft.com/office/drawing/2014/main" id="{76AF5800-95CA-763B-83D2-B73B2111B5ED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6" name="Freeform: Shape 34">
              <a:extLst>
                <a:ext uri="{FF2B5EF4-FFF2-40B4-BE49-F238E27FC236}">
                  <a16:creationId xmlns:a16="http://schemas.microsoft.com/office/drawing/2014/main" id="{B08378B9-7AE1-5E7B-7788-959E40377AE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7" name="Freeform: Shape 35">
              <a:extLst>
                <a:ext uri="{FF2B5EF4-FFF2-40B4-BE49-F238E27FC236}">
                  <a16:creationId xmlns:a16="http://schemas.microsoft.com/office/drawing/2014/main" id="{3BBF9686-E87A-F26C-9963-D70145FE2B4D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8" name="Freeform: Shape 36">
              <a:extLst>
                <a:ext uri="{FF2B5EF4-FFF2-40B4-BE49-F238E27FC236}">
                  <a16:creationId xmlns:a16="http://schemas.microsoft.com/office/drawing/2014/main" id="{B7F81EB6-7DB1-DEFB-67D8-FF28F202B22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49" name="Freeform: Shape 37">
              <a:extLst>
                <a:ext uri="{FF2B5EF4-FFF2-40B4-BE49-F238E27FC236}">
                  <a16:creationId xmlns:a16="http://schemas.microsoft.com/office/drawing/2014/main" id="{CDB961E7-72E2-C3A0-3823-A62397C7D832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0" name="Freeform: Shape 38">
              <a:extLst>
                <a:ext uri="{FF2B5EF4-FFF2-40B4-BE49-F238E27FC236}">
                  <a16:creationId xmlns:a16="http://schemas.microsoft.com/office/drawing/2014/main" id="{F6FADB3E-DF0E-F283-58CC-E755152CD879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1" name="Freeform: Shape 39">
              <a:extLst>
                <a:ext uri="{FF2B5EF4-FFF2-40B4-BE49-F238E27FC236}">
                  <a16:creationId xmlns:a16="http://schemas.microsoft.com/office/drawing/2014/main" id="{608C6C02-EB5D-3C8B-49C3-DB249C78BE8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2" name="Freeform: Shape 40">
              <a:extLst>
                <a:ext uri="{FF2B5EF4-FFF2-40B4-BE49-F238E27FC236}">
                  <a16:creationId xmlns:a16="http://schemas.microsoft.com/office/drawing/2014/main" id="{F854222C-5091-B8DC-C10B-2C57BE8A6120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3" name="Freeform: Shape 41">
              <a:extLst>
                <a:ext uri="{FF2B5EF4-FFF2-40B4-BE49-F238E27FC236}">
                  <a16:creationId xmlns:a16="http://schemas.microsoft.com/office/drawing/2014/main" id="{BCAB3FDD-FF2D-F95A-CF18-DBB289B70AA0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4" name="Freeform: Shape 42">
              <a:extLst>
                <a:ext uri="{FF2B5EF4-FFF2-40B4-BE49-F238E27FC236}">
                  <a16:creationId xmlns:a16="http://schemas.microsoft.com/office/drawing/2014/main" id="{16658765-A369-04B7-8E85-0C6323B8B943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5" name="Freeform: Shape 43">
              <a:extLst>
                <a:ext uri="{FF2B5EF4-FFF2-40B4-BE49-F238E27FC236}">
                  <a16:creationId xmlns:a16="http://schemas.microsoft.com/office/drawing/2014/main" id="{69CDF0B9-B889-8313-B5DA-41846F13E283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6" name="Freeform: Shape 44">
              <a:extLst>
                <a:ext uri="{FF2B5EF4-FFF2-40B4-BE49-F238E27FC236}">
                  <a16:creationId xmlns:a16="http://schemas.microsoft.com/office/drawing/2014/main" id="{3042FAF3-D38B-B554-81D0-A5105C51993D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7" name="Freeform: Shape 45">
              <a:extLst>
                <a:ext uri="{FF2B5EF4-FFF2-40B4-BE49-F238E27FC236}">
                  <a16:creationId xmlns:a16="http://schemas.microsoft.com/office/drawing/2014/main" id="{4744E7A0-EEB7-84D8-51AE-04F9A392FA33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8" name="Freeform: Shape 46">
              <a:extLst>
                <a:ext uri="{FF2B5EF4-FFF2-40B4-BE49-F238E27FC236}">
                  <a16:creationId xmlns:a16="http://schemas.microsoft.com/office/drawing/2014/main" id="{DC4585D5-C6D4-ADB7-B163-5F02DF753AEF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59" name="Freeform: Shape 47">
              <a:extLst>
                <a:ext uri="{FF2B5EF4-FFF2-40B4-BE49-F238E27FC236}">
                  <a16:creationId xmlns:a16="http://schemas.microsoft.com/office/drawing/2014/main" id="{87BDE715-12C1-0F4D-40BF-906F7EB04989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0" name="Freeform: Shape 48">
              <a:extLst>
                <a:ext uri="{FF2B5EF4-FFF2-40B4-BE49-F238E27FC236}">
                  <a16:creationId xmlns:a16="http://schemas.microsoft.com/office/drawing/2014/main" id="{D31E1F7E-B83A-5C04-90C4-275749D601CB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1" name="Freeform: Shape 49">
              <a:extLst>
                <a:ext uri="{FF2B5EF4-FFF2-40B4-BE49-F238E27FC236}">
                  <a16:creationId xmlns:a16="http://schemas.microsoft.com/office/drawing/2014/main" id="{264D514A-A2D3-3EEB-6DEA-E9D04F98B434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2" name="Freeform: Shape 50">
              <a:extLst>
                <a:ext uri="{FF2B5EF4-FFF2-40B4-BE49-F238E27FC236}">
                  <a16:creationId xmlns:a16="http://schemas.microsoft.com/office/drawing/2014/main" id="{1E62538F-4CD8-8F1F-7DC7-68496EC8E752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3" name="Freeform: Shape 51">
              <a:extLst>
                <a:ext uri="{FF2B5EF4-FFF2-40B4-BE49-F238E27FC236}">
                  <a16:creationId xmlns:a16="http://schemas.microsoft.com/office/drawing/2014/main" id="{87CA3703-C149-0469-5E5D-9F02C00FC4A4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4" name="Freeform: Shape 52">
              <a:extLst>
                <a:ext uri="{FF2B5EF4-FFF2-40B4-BE49-F238E27FC236}">
                  <a16:creationId xmlns:a16="http://schemas.microsoft.com/office/drawing/2014/main" id="{63B68E9C-6BBB-5E85-4983-AD4572E75700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5" name="Freeform: Shape 53">
              <a:extLst>
                <a:ext uri="{FF2B5EF4-FFF2-40B4-BE49-F238E27FC236}">
                  <a16:creationId xmlns:a16="http://schemas.microsoft.com/office/drawing/2014/main" id="{6C37C68C-4ACF-9EDB-B877-491A3C60A06A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6" name="Freeform: Shape 54">
              <a:extLst>
                <a:ext uri="{FF2B5EF4-FFF2-40B4-BE49-F238E27FC236}">
                  <a16:creationId xmlns:a16="http://schemas.microsoft.com/office/drawing/2014/main" id="{846E7C0D-184F-D3E3-D6B0-25CE0762B3CF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7" name="Freeform: Shape 55">
              <a:extLst>
                <a:ext uri="{FF2B5EF4-FFF2-40B4-BE49-F238E27FC236}">
                  <a16:creationId xmlns:a16="http://schemas.microsoft.com/office/drawing/2014/main" id="{41A74035-BF00-4765-8313-8927A0B5AF9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8" name="Freeform: Shape 56">
              <a:extLst>
                <a:ext uri="{FF2B5EF4-FFF2-40B4-BE49-F238E27FC236}">
                  <a16:creationId xmlns:a16="http://schemas.microsoft.com/office/drawing/2014/main" id="{CA9DAA3C-6B21-3BF4-F568-62921ADDA0FF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69" name="Freeform: Shape 57">
              <a:extLst>
                <a:ext uri="{FF2B5EF4-FFF2-40B4-BE49-F238E27FC236}">
                  <a16:creationId xmlns:a16="http://schemas.microsoft.com/office/drawing/2014/main" id="{4D83C208-2BDD-0393-F9D1-299B38F44E59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3" name="Retângulo 2">
            <a:extLst>
              <a:ext uri="{FF2B5EF4-FFF2-40B4-BE49-F238E27FC236}">
                <a16:creationId xmlns:a16="http://schemas.microsoft.com/office/drawing/2014/main" id="{CDE26C76-AD6D-DE3D-39AE-BD70DB4D3D22}"/>
              </a:ext>
            </a:extLst>
          </p:cNvPr>
          <p:cNvSpPr/>
          <p:nvPr/>
        </p:nvSpPr>
        <p:spPr>
          <a:xfrm>
            <a:off x="4489807" y="2219218"/>
            <a:ext cx="6773403" cy="1489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09608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4EB4DE-54E5-19C8-BE99-01C5E909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4AB520B-B79F-A8E5-5919-51419AF2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B520B-B79F-A8E5-5919-51419AF2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6383451-A5F0-BE47-05F6-21B79B52C29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041EAB-E474-71EB-B4C3-DE9E9796BB5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555D73F-8350-8DD9-93E6-8BA903CDBB0A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344983-50AC-6F45-0953-F8C82942790F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3EEEA2-BFCD-9213-7FC3-8DC806E1843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73F46A7-9304-DC17-6480-BFE1C33292C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F625-1B5F-A385-E870-BB7AEEEDF5A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2D32145-3D76-AB1C-6E44-64AE885BB2F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C5AA2CB-A072-6530-EE42-01EB951697B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5DF0F6D-DF62-76C4-C5C6-061E03C1AE8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ABECB0E-867B-23EE-611F-D47BC967FBD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E3A888-8134-8F26-024E-56658FAE3B7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382948-55A6-1769-E497-B00C520C10C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B65CE3F-FD2B-811E-EF86-8C45658F22CB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B9973D3-E513-6588-D278-F3607FD320B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2CDE6E-FAEE-6D12-F0E7-EC160640A37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6C4898-0419-F456-61D5-D0C7DF92200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E9845B7-F4E0-6E0F-19F9-1353ECF8CC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7A7EC33-63F4-2147-A760-DE3D338DCD2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C8C2520-5A36-D5A5-FC53-2E76BC4F318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014C07-58A7-0C7F-2F16-38782D0FD281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564632B-F55C-531B-4BA9-B6F4A67A156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90613A3-990F-BEEA-7D00-A5D3E33D5951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1046FFC-809A-A965-1F9E-F860DEA72F3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2D373D-04BF-5E3A-1710-A915CF71140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39943F-1D34-C621-DFBC-19103841D9A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4797721-BA92-BBD1-F80A-5E89442A411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0DB635F-B4AD-CC16-6BC4-63D8BFABB08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6A75BA-1C12-EA6D-E0E7-B876B34ACF3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C0372A6-A58C-56C1-B29F-85F952773AE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4CC74E1-F105-23FD-5E85-CD3B5CC3CD7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41785F-5CE3-FCAD-E167-A6B01F5EE739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AF6CF4-CF25-D112-C107-5E92E8226D7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A5CB994-3ADC-1E1C-5980-725E67BDAB8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4126E9-B50A-A055-C998-69C48DD9AA5A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4220802-8A07-CBF3-0849-ADC3A4016CE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0DBF7D-34A7-7E43-FF44-A5E69440C41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232C51-28D9-F6FD-2130-2988EDF37A9F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6C99DC-678B-4992-CB99-E559838619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006989-C64F-A040-2328-D1233857976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6E7AE6A-6474-D555-008E-C70023E38EF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90489B-D041-FAA7-E93F-EA464A4E56A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69D942F-483F-5408-C30D-9CE525A797E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0BD57D-5A94-E587-7E16-91B8D2EE2A3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6389B1C3-2627-6C52-823F-BB169EAC9CE6}"/>
              </a:ext>
            </a:extLst>
          </p:cNvPr>
          <p:cNvSpPr txBox="1"/>
          <p:nvPr/>
        </p:nvSpPr>
        <p:spPr>
          <a:xfrm>
            <a:off x="5417344" y="2647237"/>
            <a:ext cx="6774655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Esse quadro fecha critérios IRAS?</a:t>
            </a:r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Qual?</a:t>
            </a:r>
            <a:endParaRPr lang="pt-BR" sz="3200" b="1" noProof="0" dirty="0">
              <a:solidFill>
                <a:srgbClr val="46326A"/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4FACCC9-4161-DB06-9AA2-752A25688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28C73AE-775B-675F-667A-DBF59C178BE8}"/>
              </a:ext>
            </a:extLst>
          </p:cNvPr>
          <p:cNvSpPr txBox="1"/>
          <p:nvPr/>
        </p:nvSpPr>
        <p:spPr>
          <a:xfrm>
            <a:off x="2519500" y="361172"/>
            <a:ext cx="193745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noProof="0"/>
              <a:t>Discussã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04DDAA7-1292-4081-D29D-0E04EF53861F}"/>
              </a:ext>
            </a:extLst>
          </p:cNvPr>
          <p:cNvSpPr txBox="1"/>
          <p:nvPr/>
        </p:nvSpPr>
        <p:spPr>
          <a:xfrm>
            <a:off x="-390418" y="2616100"/>
            <a:ext cx="62014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000" noProof="0"/>
              <a:t>E agora</a:t>
            </a:r>
            <a:r>
              <a:rPr lang="pt-BR" sz="2400" noProof="0"/>
              <a:t>?</a:t>
            </a:r>
          </a:p>
          <a:p>
            <a:pPr lvl="0" algn="ctr"/>
            <a:endParaRPr lang="pt-BR" sz="2400" noProof="0"/>
          </a:p>
          <a:p>
            <a:pPr lvl="0" algn="ctr"/>
            <a:endParaRPr lang="pt-BR" sz="2400" noProof="0"/>
          </a:p>
        </p:txBody>
      </p:sp>
      <p:pic>
        <p:nvPicPr>
          <p:cNvPr id="2" name="Picture 6" descr="322 Stick Figure With Thought Bubble Stock Photos, Pictures &amp; Royalty-Free  Images - iStock">
            <a:extLst>
              <a:ext uri="{FF2B5EF4-FFF2-40B4-BE49-F238E27FC236}">
                <a16:creationId xmlns:a16="http://schemas.microsoft.com/office/drawing/2014/main" id="{200D1FFE-842F-C2A5-CCEB-ED15A677B7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0" r="4427" b="3854"/>
          <a:stretch/>
        </p:blipFill>
        <p:spPr bwMode="auto">
          <a:xfrm>
            <a:off x="-1" y="1469478"/>
            <a:ext cx="4463143" cy="539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266453C1-AC36-8993-2A07-5E28DD36FE7E}"/>
              </a:ext>
            </a:extLst>
          </p:cNvPr>
          <p:cNvSpPr txBox="1"/>
          <p:nvPr/>
        </p:nvSpPr>
        <p:spPr>
          <a:xfrm>
            <a:off x="-418381" y="2605459"/>
            <a:ext cx="6201408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2800" b="1" noProof="0">
                <a:solidFill>
                  <a:srgbClr val="9DC457"/>
                </a:solidFill>
              </a:rPr>
              <a:t>E agora</a:t>
            </a:r>
            <a:r>
              <a:rPr lang="pt-BR" sz="3200" b="1" noProof="0">
                <a:solidFill>
                  <a:srgbClr val="9DC457"/>
                </a:solidFill>
              </a:rPr>
              <a:t>?</a:t>
            </a: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995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4EB4DE-54E5-19C8-BE99-01C5E909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4AB520B-B79F-A8E5-5919-51419AF2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B520B-B79F-A8E5-5919-51419AF2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6383451-A5F0-BE47-05F6-21B79B52C29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041EAB-E474-71EB-B4C3-DE9E9796BB5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555D73F-8350-8DD9-93E6-8BA903CDBB0A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344983-50AC-6F45-0953-F8C82942790F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3EEEA2-BFCD-9213-7FC3-8DC806E1843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73F46A7-9304-DC17-6480-BFE1C33292C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F625-1B5F-A385-E870-BB7AEEEDF5A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2D32145-3D76-AB1C-6E44-64AE885BB2F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C5AA2CB-A072-6530-EE42-01EB951697B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5DF0F6D-DF62-76C4-C5C6-061E03C1AE8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ABECB0E-867B-23EE-611F-D47BC967FBD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E3A888-8134-8F26-024E-56658FAE3B7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382948-55A6-1769-E497-B00C520C10C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B65CE3F-FD2B-811E-EF86-8C45658F22CB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B9973D3-E513-6588-D278-F3607FD320B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2CDE6E-FAEE-6D12-F0E7-EC160640A37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6C4898-0419-F456-61D5-D0C7DF92200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E9845B7-F4E0-6E0F-19F9-1353ECF8CC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7A7EC33-63F4-2147-A760-DE3D338DCD2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C8C2520-5A36-D5A5-FC53-2E76BC4F318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014C07-58A7-0C7F-2F16-38782D0FD281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564632B-F55C-531B-4BA9-B6F4A67A156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90613A3-990F-BEEA-7D00-A5D3E33D5951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1046FFC-809A-A965-1F9E-F860DEA72F3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2D373D-04BF-5E3A-1710-A915CF71140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39943F-1D34-C621-DFBC-19103841D9A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4797721-BA92-BBD1-F80A-5E89442A411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0DB635F-B4AD-CC16-6BC4-63D8BFABB08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6A75BA-1C12-EA6D-E0E7-B876B34ACF3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C0372A6-A58C-56C1-B29F-85F952773AE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4CC74E1-F105-23FD-5E85-CD3B5CC3CD7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41785F-5CE3-FCAD-E167-A6B01F5EE739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AF6CF4-CF25-D112-C107-5E92E8226D7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A5CB994-3ADC-1E1C-5980-725E67BDAB8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4126E9-B50A-A055-C998-69C48DD9AA5A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4220802-8A07-CBF3-0849-ADC3A4016CE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0DBF7D-34A7-7E43-FF44-A5E69440C41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232C51-28D9-F6FD-2130-2988EDF37A9F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6C99DC-678B-4992-CB99-E559838619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006989-C64F-A040-2328-D1233857976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6E7AE6A-6474-D555-008E-C70023E38EF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90489B-D041-FAA7-E93F-EA464A4E56A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69D942F-483F-5408-C30D-9CE525A797E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0BD57D-5A94-E587-7E16-91B8D2EE2A3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94FACCC9-4161-DB06-9AA2-752A25688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28C73AE-775B-675F-667A-DBF59C178BE8}"/>
              </a:ext>
            </a:extLst>
          </p:cNvPr>
          <p:cNvSpPr txBox="1"/>
          <p:nvPr/>
        </p:nvSpPr>
        <p:spPr>
          <a:xfrm>
            <a:off x="2447581" y="218322"/>
            <a:ext cx="302276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noProof="0"/>
              <a:t>Critérios </a:t>
            </a:r>
            <a:r>
              <a:rPr lang="pt-BR" sz="2400" b="1"/>
              <a:t>IPCSL</a:t>
            </a:r>
            <a:endParaRPr lang="pt-BR" sz="2400" b="1" noProof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BB71A2B0-59C5-A049-7835-196FE699B1D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655" t="26218" r="40454" b="9375"/>
          <a:stretch/>
        </p:blipFill>
        <p:spPr>
          <a:xfrm>
            <a:off x="1688708" y="829652"/>
            <a:ext cx="9318244" cy="5450333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9587F20-19B4-B09D-6014-582F30EA6033}"/>
              </a:ext>
            </a:extLst>
          </p:cNvPr>
          <p:cNvSpPr txBox="1"/>
          <p:nvPr/>
        </p:nvSpPr>
        <p:spPr>
          <a:xfrm>
            <a:off x="9904288" y="1411248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650FE45-50DD-794C-18E3-E55B83A785FF}"/>
              </a:ext>
            </a:extLst>
          </p:cNvPr>
          <p:cNvSpPr txBox="1"/>
          <p:nvPr/>
        </p:nvSpPr>
        <p:spPr>
          <a:xfrm>
            <a:off x="10551839" y="2010274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b="1" dirty="0">
              <a:solidFill>
                <a:srgbClr val="C00000"/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5F04155-FDCC-2A07-ADD3-5F6AC253D896}"/>
              </a:ext>
            </a:extLst>
          </p:cNvPr>
          <p:cNvSpPr txBox="1"/>
          <p:nvPr/>
        </p:nvSpPr>
        <p:spPr>
          <a:xfrm>
            <a:off x="9966324" y="3046193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B5B19599-1D7B-F46D-06C1-FB21E5D41A01}"/>
              </a:ext>
            </a:extLst>
          </p:cNvPr>
          <p:cNvSpPr txBox="1"/>
          <p:nvPr/>
        </p:nvSpPr>
        <p:spPr>
          <a:xfrm>
            <a:off x="9965932" y="3875337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B035ADF3-6BBB-A5AE-22D3-EB97D950AE21}"/>
              </a:ext>
            </a:extLst>
          </p:cNvPr>
          <p:cNvSpPr txBox="1"/>
          <p:nvPr/>
        </p:nvSpPr>
        <p:spPr>
          <a:xfrm>
            <a:off x="9965932" y="4160817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E52DE3BA-D234-4799-7624-D474D160A7F5}"/>
              </a:ext>
            </a:extLst>
          </p:cNvPr>
          <p:cNvSpPr txBox="1"/>
          <p:nvPr/>
        </p:nvSpPr>
        <p:spPr>
          <a:xfrm>
            <a:off x="9984169" y="4786869"/>
            <a:ext cx="26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C0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301379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15" grpId="0"/>
      <p:bldP spid="60" grpId="0"/>
      <p:bldP spid="61" grpId="0"/>
      <p:bldP spid="6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4EB4DE-54E5-19C8-BE99-01C5E909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4AB520B-B79F-A8E5-5919-51419AF2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B520B-B79F-A8E5-5919-51419AF2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6383451-A5F0-BE47-05F6-21B79B52C29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041EAB-E474-71EB-B4C3-DE9E9796BB5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555D73F-8350-8DD9-93E6-8BA903CDBB0A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344983-50AC-6F45-0953-F8C82942790F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3EEEA2-BFCD-9213-7FC3-8DC806E1843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73F46A7-9304-DC17-6480-BFE1C33292C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F625-1B5F-A385-E870-BB7AEEEDF5A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2D32145-3D76-AB1C-6E44-64AE885BB2F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C5AA2CB-A072-6530-EE42-01EB951697B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5DF0F6D-DF62-76C4-C5C6-061E03C1AE8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ABECB0E-867B-23EE-611F-D47BC967FBD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E3A888-8134-8F26-024E-56658FAE3B7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382948-55A6-1769-E497-B00C520C10C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B65CE3F-FD2B-811E-EF86-8C45658F22CB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B9973D3-E513-6588-D278-F3607FD320B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2CDE6E-FAEE-6D12-F0E7-EC160640A37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6C4898-0419-F456-61D5-D0C7DF92200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E9845B7-F4E0-6E0F-19F9-1353ECF8CC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7A7EC33-63F4-2147-A760-DE3D338DCD2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C8C2520-5A36-D5A5-FC53-2E76BC4F318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014C07-58A7-0C7F-2F16-38782D0FD281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564632B-F55C-531B-4BA9-B6F4A67A156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90613A3-990F-BEEA-7D00-A5D3E33D5951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1046FFC-809A-A965-1F9E-F860DEA72F3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2D373D-04BF-5E3A-1710-A915CF71140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39943F-1D34-C621-DFBC-19103841D9A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4797721-BA92-BBD1-F80A-5E89442A411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0DB635F-B4AD-CC16-6BC4-63D8BFABB08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6A75BA-1C12-EA6D-E0E7-B876B34ACF3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C0372A6-A58C-56C1-B29F-85F952773AE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4CC74E1-F105-23FD-5E85-CD3B5CC3CD7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41785F-5CE3-FCAD-E167-A6B01F5EE739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AF6CF4-CF25-D112-C107-5E92E8226D7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A5CB994-3ADC-1E1C-5980-725E67BDAB8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4126E9-B50A-A055-C998-69C48DD9AA5A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4220802-8A07-CBF3-0849-ADC3A4016CE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0DBF7D-34A7-7E43-FF44-A5E69440C41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232C51-28D9-F6FD-2130-2988EDF37A9F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6C99DC-678B-4992-CB99-E559838619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006989-C64F-A040-2328-D1233857976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6E7AE6A-6474-D555-008E-C70023E38EF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90489B-D041-FAA7-E93F-EA464A4E56A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69D942F-483F-5408-C30D-9CE525A797E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0BD57D-5A94-E587-7E16-91B8D2EE2A3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94FACCC9-4161-DB06-9AA2-752A25688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28C73AE-775B-675F-667A-DBF59C178BE8}"/>
              </a:ext>
            </a:extLst>
          </p:cNvPr>
          <p:cNvSpPr txBox="1"/>
          <p:nvPr/>
        </p:nvSpPr>
        <p:spPr>
          <a:xfrm>
            <a:off x="2447581" y="218322"/>
            <a:ext cx="3022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/>
              <a:t>Resultado caso 1</a:t>
            </a:r>
            <a:endParaRPr lang="pt-BR" sz="2400" b="1" noProof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0928CB8-3146-67FE-7A31-F289FB6D76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31384">
            <a:off x="2770952" y="366191"/>
            <a:ext cx="6259935" cy="6377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CaixaDeTexto 63">
            <a:extLst>
              <a:ext uri="{FF2B5EF4-FFF2-40B4-BE49-F238E27FC236}">
                <a16:creationId xmlns:a16="http://schemas.microsoft.com/office/drawing/2014/main" id="{28627675-6FC5-86C5-4858-8E66AE74565A}"/>
              </a:ext>
            </a:extLst>
          </p:cNvPr>
          <p:cNvSpPr txBox="1"/>
          <p:nvPr/>
        </p:nvSpPr>
        <p:spPr>
          <a:xfrm rot="20061419">
            <a:off x="2771589" y="3202169"/>
            <a:ext cx="624931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000" b="1" noProof="0">
                <a:solidFill>
                  <a:srgbClr val="FF0000"/>
                </a:solidFill>
              </a:rPr>
              <a:t>INFECÇÃO </a:t>
            </a:r>
            <a:r>
              <a:rPr lang="pt-BR" sz="2000" b="1">
                <a:solidFill>
                  <a:srgbClr val="FF0000"/>
                </a:solidFill>
              </a:rPr>
              <a:t>PRIMÁRIA DE</a:t>
            </a:r>
            <a:r>
              <a:rPr lang="pt-BR" sz="2000" b="1" noProof="0">
                <a:solidFill>
                  <a:srgbClr val="FF0000"/>
                </a:solidFill>
              </a:rPr>
              <a:t> </a:t>
            </a:r>
            <a:endParaRPr lang="pt-BR" sz="2400" b="1">
              <a:solidFill>
                <a:srgbClr val="FF0000"/>
              </a:solidFill>
            </a:endParaRPr>
          </a:p>
          <a:p>
            <a:pPr algn="ctr"/>
            <a:r>
              <a:rPr lang="pt-BR" sz="2000" b="1" noProof="0">
                <a:solidFill>
                  <a:srgbClr val="FF0000"/>
                </a:solidFill>
              </a:rPr>
              <a:t>CORRENTE SANGUINEA</a:t>
            </a:r>
            <a:r>
              <a:rPr lang="pt-BR" sz="2000" b="1">
                <a:solidFill>
                  <a:srgbClr val="FF0000"/>
                </a:solidFill>
              </a:rPr>
              <a:t> ASSOCIADA A CVC</a:t>
            </a:r>
            <a:endParaRPr lang="pt-BR" sz="2400" b="1" noProof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6489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11575" y="687608"/>
            <a:ext cx="10058400" cy="631231"/>
          </a:xfrm>
        </p:spPr>
        <p:txBody>
          <a:bodyPr>
            <a:normAutofit/>
          </a:bodyPr>
          <a:lstStyle/>
          <a:p>
            <a:r>
              <a:rPr lang="pt-BR" sz="3600" b="1">
                <a:solidFill>
                  <a:srgbClr val="3299B1"/>
                </a:solidFill>
                <a:latin typeface="Agency FB" panose="020B0503020202020204" pitchFamily="34" charset="0"/>
              </a:rPr>
              <a:t>Caso 2 - NEONAT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636A108-B6A8-4241-8AF2-269D22F75D8B}"/>
              </a:ext>
            </a:extLst>
          </p:cNvPr>
          <p:cNvSpPr txBox="1"/>
          <p:nvPr/>
        </p:nvSpPr>
        <p:spPr>
          <a:xfrm>
            <a:off x="641554" y="1597839"/>
            <a:ext cx="11380840" cy="2708434"/>
          </a:xfrm>
          <a:prstGeom prst="rect">
            <a:avLst/>
          </a:prstGeom>
          <a:noFill/>
        </p:spPr>
        <p:txBody>
          <a:bodyPr wrap="square" lIns="91440" tIns="45720" rIns="91440" bIns="45720" numCol="1" anchor="t">
            <a:spAutoFit/>
          </a:bodyPr>
          <a:lstStyle/>
          <a:p>
            <a:pPr algn="just">
              <a:spcAft>
                <a:spcPts val="1200"/>
              </a:spcAft>
              <a:defRPr/>
            </a:pPr>
            <a:endParaRPr lang="pt-BR" sz="2000">
              <a:solidFill>
                <a:schemeClr val="tx2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076" name="Picture 4" descr="Gifs de alerta - Gifs e Imagens Animadas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589" y="2352128"/>
            <a:ext cx="5665837" cy="318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2648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E0369-0CC2-D16A-7A24-C49929DD20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D58C070-80AE-B0C2-E168-699B106B20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58C070-80AE-B0C2-E168-699B106B2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35FD2FF-2F6E-FF9F-77AE-160815EC6E63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34445FF-03FF-27B9-4670-0ED8A1317929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FB29A03-A686-982F-6860-4AED2954C471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CA23AB3-6C72-F605-4443-2597A581D8D9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FB9A3F-3938-8407-B014-29E68A9A88AD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13A3C7-82EF-FE96-0197-32CAE75DA6BF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6B83F4A-5967-2248-96DE-360176EEB13A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934D91D-C925-F473-33BD-31CA2FFF68E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87108-534C-CE14-E489-75D3F086BD1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598B1A2-73F0-AAB8-6FA3-1662FC804D1E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1C3A6EE-7A5E-47B0-FA6B-C88D28486A03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4092D96-0500-8E05-9C3B-C10DD6540957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5B3C68-00F2-873C-4D7A-9A1D4DF7396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963F9B5-A86B-F030-C604-7C2E535776D4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290DADF-50E4-D925-720C-D442B552A4AC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F827F4E-493F-9187-2543-70720A4E47D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B97227-8D64-13F0-062B-0921952180C2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B7E7EC9-B5A0-67B3-5764-A93CE6364A72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F04DBC2-CA5F-5801-AA64-3899A6E43762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D3DD127-36E2-A470-8EB0-03136F9890EF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336ABFF-B378-3927-5890-B1BC2B8CD668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98CE06B-A8D3-7E57-8CD1-E1CCDEE7D6AA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A6E7B94-C13B-30CA-8EF4-F47FB16A0A3F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4B335D0-7F6D-697E-BF5B-0A1E769C796F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7553E0-3438-A480-55C7-C61FA77E9CD0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BB3B440-6E4F-D12C-7F5B-F1553C0E6D17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A9524D5-425E-31F5-5C33-DB2FD5F2C159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FE59096-94C6-F482-008D-3FDFE6288921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B91C0E-5E48-E0D5-BECD-EFCB21230EF1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34C7C40-AE1B-7144-3067-167FAE1ECCFE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80E57A9-F7B3-2A20-6DAB-EF94727D9FCC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5E9BB61-E9AD-10D5-BD7D-F75C13D0FF4A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C4231C0-F5F3-B5DE-B597-B54C23348E4D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C774624-7A88-80EA-485B-E621F06A6ABE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5D29C7-0BD2-3F84-7828-7D60F604CEC1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424754E-18AE-A552-E9C1-B7A1385A8E78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C532DCD-3484-E926-2968-7C6F3EA23FCE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5DDD8FC-D733-7EBB-9A93-A6EB489CBE4E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8685EFE-0B99-F279-4E8C-2F66BFBC163D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4D2BA6F-2A25-B2EF-C590-A6AFCB7C7FE8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0615E63-F529-FE8F-0017-368710E3E64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2230871-2896-9734-4B06-71591F03ACED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B2AC423-8995-832E-E717-E0C07C15E610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58A3F6C-674D-D440-A1F8-6D62FC4A77B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63093CC9-4F9C-CB94-D410-A3FA0888E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408F1D1-411B-9547-3D18-F4937BF9BA82}"/>
              </a:ext>
            </a:extLst>
          </p:cNvPr>
          <p:cNvSpPr txBox="1"/>
          <p:nvPr/>
        </p:nvSpPr>
        <p:spPr>
          <a:xfrm>
            <a:off x="6024245" y="1683985"/>
            <a:ext cx="5841983" cy="14329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Internado na UTI desde o nascimento</a:t>
            </a:r>
          </a:p>
          <a:p>
            <a:pPr>
              <a:lnSpc>
                <a:spcPct val="150000"/>
              </a:lnSpc>
            </a:pPr>
            <a:r>
              <a:rPr lang="pt-BR" sz="2000" b="1" noProof="0" dirty="0"/>
              <a:t>Há 4 </a:t>
            </a:r>
            <a:r>
              <a:rPr lang="pt-BR" sz="2000" b="1" noProof="0"/>
              <a:t>dias: </a:t>
            </a:r>
            <a:r>
              <a:rPr lang="pt-BR" sz="2000" noProof="0" dirty="0"/>
              <a:t>submetido à cirurgia cardíaca corretiv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000" noProof="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C33105F-6C08-438A-9B6D-F82C365C9929}"/>
              </a:ext>
            </a:extLst>
          </p:cNvPr>
          <p:cNvSpPr txBox="1"/>
          <p:nvPr/>
        </p:nvSpPr>
        <p:spPr>
          <a:xfrm>
            <a:off x="2519500" y="361172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CASO 2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2047535B-C9B8-FC41-5779-25E93BF3F057}"/>
              </a:ext>
            </a:extLst>
          </p:cNvPr>
          <p:cNvGrpSpPr/>
          <p:nvPr/>
        </p:nvGrpSpPr>
        <p:grpSpPr>
          <a:xfrm>
            <a:off x="562068" y="1297313"/>
            <a:ext cx="4044962" cy="4515011"/>
            <a:chOff x="365331" y="1523999"/>
            <a:chExt cx="4125687" cy="4093029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BB830381-7DBB-E3D5-3299-CF14F5895841}"/>
                </a:ext>
              </a:extLst>
            </p:cNvPr>
            <p:cNvSpPr/>
            <p:nvPr/>
          </p:nvSpPr>
          <p:spPr>
            <a:xfrm>
              <a:off x="365331" y="1523999"/>
              <a:ext cx="4125687" cy="4093029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8EC6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792FEDE-DF1A-A26F-44F9-DE9F33DFBF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52793" r="55407" b="44992"/>
            <a:stretch/>
          </p:blipFill>
          <p:spPr>
            <a:xfrm>
              <a:off x="1884255" y="3703957"/>
              <a:ext cx="1104899" cy="167082"/>
            </a:xfrm>
            <a:prstGeom prst="rect">
              <a:avLst/>
            </a:prstGeom>
          </p:spPr>
        </p:pic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3BE0167B-F93D-1DF8-873A-6D3F98B2AA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41444" r="55407" b="49302"/>
            <a:stretch/>
          </p:blipFill>
          <p:spPr>
            <a:xfrm>
              <a:off x="1841074" y="2835795"/>
              <a:ext cx="1104899" cy="698138"/>
            </a:xfrm>
            <a:prstGeom prst="rect">
              <a:avLst/>
            </a:prstGeom>
          </p:spPr>
        </p:pic>
      </p:grpSp>
      <p:pic>
        <p:nvPicPr>
          <p:cNvPr id="11" name="Picture 2" descr="Rosto De Bebé Desenho Animado Ilustração do Vetor ...">
            <a:extLst>
              <a:ext uri="{FF2B5EF4-FFF2-40B4-BE49-F238E27FC236}">
                <a16:creationId xmlns:a16="http://schemas.microsoft.com/office/drawing/2014/main" id="{76AB4B71-CAA0-1708-51B8-11F52C1E23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12" r="40724"/>
          <a:stretch/>
        </p:blipFill>
        <p:spPr bwMode="auto">
          <a:xfrm>
            <a:off x="1942298" y="1407710"/>
            <a:ext cx="1216555" cy="1171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6911640A-9437-9139-916C-B364CA5E6171}"/>
              </a:ext>
            </a:extLst>
          </p:cNvPr>
          <p:cNvSpPr txBox="1"/>
          <p:nvPr/>
        </p:nvSpPr>
        <p:spPr>
          <a:xfrm>
            <a:off x="347509" y="4029295"/>
            <a:ext cx="4346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1 mês de vida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FAF099B9-312D-AE2C-02B1-695A998F4D2E}"/>
              </a:ext>
            </a:extLst>
          </p:cNvPr>
          <p:cNvSpPr txBox="1"/>
          <p:nvPr/>
        </p:nvSpPr>
        <p:spPr>
          <a:xfrm>
            <a:off x="942868" y="4541594"/>
            <a:ext cx="6097712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800" noProof="0"/>
              <a:t>Portador de cardiopatia congênita</a:t>
            </a:r>
          </a:p>
          <a:p>
            <a:pPr>
              <a:lnSpc>
                <a:spcPct val="150000"/>
              </a:lnSpc>
            </a:pPr>
            <a:r>
              <a:rPr lang="pt-BR" sz="1800" noProof="0"/>
              <a:t>Diagnóstico: Tetralogia de </a:t>
            </a:r>
            <a:r>
              <a:rPr lang="pt-BR" sz="1800" noProof="0" err="1"/>
              <a:t>Fallot</a:t>
            </a:r>
            <a:endParaRPr lang="pt-BR"/>
          </a:p>
        </p:txBody>
      </p:sp>
      <p:sp>
        <p:nvSpPr>
          <p:cNvPr id="60" name="Seta: para Baixo 59">
            <a:extLst>
              <a:ext uri="{FF2B5EF4-FFF2-40B4-BE49-F238E27FC236}">
                <a16:creationId xmlns:a16="http://schemas.microsoft.com/office/drawing/2014/main" id="{45E7D678-2ED1-FD98-20B7-DDAFC48A16A5}"/>
              </a:ext>
            </a:extLst>
          </p:cNvPr>
          <p:cNvSpPr/>
          <p:nvPr/>
        </p:nvSpPr>
        <p:spPr>
          <a:xfrm rot="16200000">
            <a:off x="4982927" y="2566855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61" name="Seta: para Baixo 60">
            <a:extLst>
              <a:ext uri="{FF2B5EF4-FFF2-40B4-BE49-F238E27FC236}">
                <a16:creationId xmlns:a16="http://schemas.microsoft.com/office/drawing/2014/main" id="{440DB1D7-EBA5-36A5-A64F-1C33682FB76D}"/>
              </a:ext>
            </a:extLst>
          </p:cNvPr>
          <p:cNvSpPr/>
          <p:nvPr/>
        </p:nvSpPr>
        <p:spPr>
          <a:xfrm rot="16200000">
            <a:off x="11352906" y="591451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121683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0" grpId="0" animBg="1"/>
      <p:bldP spid="6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8C45B24-5EE4-218F-75C7-D9EFA6E772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20620" r="1245" b="20011"/>
          <a:stretch/>
        </p:blipFill>
        <p:spPr>
          <a:xfrm>
            <a:off x="2321596" y="482985"/>
            <a:ext cx="8237677" cy="543316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8" progId="TCLayout.ActiveDocument.1">
                  <p:embed/>
                </p:oleObj>
              </mc:Choice>
              <mc:Fallback>
                <p:oleObj name="think-cell Slide" r:id="rId5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569576" y="1546035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</a:t>
            </a:r>
            <a:r>
              <a:rPr lang="pt-BR" sz="2400" b="1">
                <a:solidFill>
                  <a:schemeClr val="bg1"/>
                </a:solidFill>
              </a:rPr>
              <a:t>1</a:t>
            </a:r>
            <a:endParaRPr lang="pt-BR" sz="24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07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B23DF-8DB2-6AB6-CB50-3D37709D7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EB72946-56D7-B4DE-A7DC-9C2961A41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B72946-56D7-B4DE-A7DC-9C2961A41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1851A488-126D-E355-3F41-D8696294E72A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392AA9-8213-410B-66F9-D1704C2BDB1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674BE09-8715-7B8D-9CF1-5FF1ACD4C291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58A453F-E622-6FF5-3A75-F695A04AD6FB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1A77EA7-C8C0-7F5B-B3E5-990873E0EDB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9835415-F294-506A-09C6-7B94EE147430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BBC0FA3-129C-441F-C5E9-D4ED2BFE1BF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32CCF6C-7028-DFA7-6244-24F1C3106155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FCF116-107C-0558-5A5F-1E3A6FF4D153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9C0F2EF-8E87-635A-F1A0-3BC26087F9F0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20FD385-1EC8-CA08-E649-2498A217A44A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CF6CA72-916D-23AF-676D-521F341E0A71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954EEE7-431E-B03D-6B3F-D1316983CB21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0678E81-6A7F-8DD8-A755-C493149A528A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101FBE7-1F87-80A2-A310-E6FBEF2322E6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07B00B3-BE13-7DE7-05B2-7FBC8BA25BEB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E7B6C3D-C7FE-7E61-F919-2D3E05F35EB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8152E95-D1AD-4BEB-408C-C18E5C0F09C5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4880C64-4DDB-C408-C29A-D78AAA357EE9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FA9728D-1ED8-8737-7B81-4AB48892A3A4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5A6076B-4B04-51C1-9A16-F6D8860E7C2D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DE4B128-60E6-36B9-B14F-1E1B25AA122B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69A8CB3-4D94-49AE-D463-E3E45430326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967C561-C4E4-2D51-0573-5975DC066E61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A99E0E9-5B77-C198-ACFD-143FE49A0435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EBA9BDF-22B4-844E-67DD-6D305133F7E7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CAB84DA-A398-6FDA-2E63-64F31BF479C0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D01E32C-B4EE-F485-891D-1E2F09AF239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A545A1E-3F6C-0BB0-0CB4-EA0B6F888267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8A27C6E-B201-46D7-78B9-E8A06FA3EFA2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521D227-02EC-79DA-B0F2-183D791944B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B7FF453-B340-75B2-F2E5-89A1221DCADE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A3879C5-5256-CDA3-9854-4CC40D8A2775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E917228-0C00-54F2-7BF4-72A9AEE3D710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FD2561-2CCA-F079-45FA-216BE23263C7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AD8D696-C2C4-99A1-CCC1-079A2E2CED5F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2C961DA-7595-F846-45B8-0884593DCD8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87FF860-B4D9-8347-8A38-834322952908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153C57E-34EB-EBEF-EEB2-5AC720DE594F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DCCEBB1-F9BF-EAD9-6DAF-FBBB7716A916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45BF36E-E37F-8397-BB8F-0B7B178FFAD3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45628C5-AD85-8A00-A415-202807D010E4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BC6AEE0-E9E3-64BC-64A6-755AFCE5DD7D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1990EAA-F21B-109E-F022-34F991A23DDB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AAB4CE07-29B3-D715-8F3C-22C71C77C1CD}"/>
              </a:ext>
            </a:extLst>
          </p:cNvPr>
          <p:cNvSpPr txBox="1"/>
          <p:nvPr/>
        </p:nvSpPr>
        <p:spPr>
          <a:xfrm>
            <a:off x="5198607" y="712440"/>
            <a:ext cx="6565240" cy="1894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Ventilação mecânica invasiva desde o intraoperatóri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Intubado há 4 dia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Sedação contínu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Inserido Cateter venoso central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ABEEBFD-887B-9B06-E48F-4D9BB5DB6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95A2884A-C762-572C-A116-8A0A3E5C3423}"/>
              </a:ext>
            </a:extLst>
          </p:cNvPr>
          <p:cNvSpPr txBox="1"/>
          <p:nvPr/>
        </p:nvSpPr>
        <p:spPr>
          <a:xfrm>
            <a:off x="2041132" y="4157435"/>
            <a:ext cx="10304980" cy="2439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t-BR" sz="2000" noProof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Evolui hemodinamicamente estáv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Sem uso de drogas vasoativas há 24 hora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Em programação de</a:t>
            </a:r>
            <a:r>
              <a:rPr lang="pt-BR" sz="2000" dirty="0"/>
              <a:t> </a:t>
            </a:r>
            <a:r>
              <a:rPr lang="pt-BR" sz="2000" noProof="0" dirty="0"/>
              <a:t>Redução dos parâmetros ventilatório e desmame de sedaçã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400" noProof="0" dirty="0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06A0B1A9-18D4-41B4-7E12-DC6B9C51733A}"/>
              </a:ext>
            </a:extLst>
          </p:cNvPr>
          <p:cNvSpPr/>
          <p:nvPr/>
        </p:nvSpPr>
        <p:spPr>
          <a:xfrm rot="16200000">
            <a:off x="4579020" y="115622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7" name="Seta: para Baixo 6">
            <a:extLst>
              <a:ext uri="{FF2B5EF4-FFF2-40B4-BE49-F238E27FC236}">
                <a16:creationId xmlns:a16="http://schemas.microsoft.com/office/drawing/2014/main" id="{C1C4CEF1-4B71-19AD-B6BA-0BA627853066}"/>
              </a:ext>
            </a:extLst>
          </p:cNvPr>
          <p:cNvSpPr/>
          <p:nvPr/>
        </p:nvSpPr>
        <p:spPr>
          <a:xfrm>
            <a:off x="5867400" y="355481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E742DD90-217A-4C85-CBDB-788C0F32A902}"/>
              </a:ext>
            </a:extLst>
          </p:cNvPr>
          <p:cNvSpPr/>
          <p:nvPr/>
        </p:nvSpPr>
        <p:spPr>
          <a:xfrm rot="16200000">
            <a:off x="11306757" y="6212918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pic>
        <p:nvPicPr>
          <p:cNvPr id="10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BFE1B27D-1B9E-AD1D-E797-35769757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58" y="901919"/>
            <a:ext cx="3891100" cy="336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F9839532-A215-79DC-C389-F9B67C5BB5F9}"/>
              </a:ext>
            </a:extLst>
          </p:cNvPr>
          <p:cNvSpPr txBox="1"/>
          <p:nvPr/>
        </p:nvSpPr>
        <p:spPr>
          <a:xfrm>
            <a:off x="1498600" y="2123658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1</a:t>
            </a:r>
          </a:p>
        </p:txBody>
      </p:sp>
    </p:spTree>
    <p:extLst>
      <p:ext uri="{BB962C8B-B14F-4D97-AF65-F5344CB8AC3E}">
        <p14:creationId xmlns:p14="http://schemas.microsoft.com/office/powerpoint/2010/main" val="3344040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  <p:bldP spid="4" grpId="0" animBg="1"/>
      <p:bldP spid="7" grpId="0" animBg="1"/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46011-4521-36FB-B965-79E0E9EFE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B021494-65EF-EC5B-4521-4F1C5CB7DC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21494-65EF-EC5B-4521-4F1C5CB7D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88BECA3B-3E18-0440-79D6-BB71687A9E37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5FCDF6E-FDD1-AC8E-25BA-A9270436A666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527EAA7-4D23-22CC-056B-C8B133969034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80641C2-963B-6524-DDC1-895319B7450B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232BE4-42AB-268B-A2DD-B8CCE71424E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1009E3-7401-C1B3-96D8-BC58E4498A7A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3014D19-8B4C-F093-F98A-BC2A86200D0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58F92F6-317B-5236-CC6E-3FCE14B57C0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A593C8-2772-4B45-AAE5-BADDF3B2D7B3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582444D-F345-1D60-A477-1E4853689B1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BB6534F-60A3-C894-BFAF-048B86BC101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926FC62-98BC-BECE-69DF-79DFB18E52AA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42FDB3C-26FF-88F2-AEAF-924BBA0CD5E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1D9DDC-4DD8-47AA-586D-80D1F31CD2B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428B774-2A18-09A0-1060-F10DBE29B7E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3C5F959-8220-D3C7-22DD-17669376F840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85A3929-34A0-9E80-B053-FB1649582CA3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14B2647-5124-F889-0639-90FC13F1F8DB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494219E-6DE8-5C76-59FC-58C6FA27906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CA64FB8-0ABE-4AA5-257C-6A1D5B7660A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CF4C304-CE91-0BAB-6529-F9E911DE0AC7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1492A33-42C4-D436-DB75-C20BAF47A283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9D4F7E4-EC7B-74D9-F675-4998D964355D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F41AC1C-0D53-CD8B-56B5-E437235923A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4E06CA-D4C2-05AB-4F28-EE6510C7AD4F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ECD2D37-E259-7EF7-ADE1-A62C218F18E8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A4B0123-2ACD-9B23-CCB9-FDDCE7FE3597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5BEFF8F-F967-40AA-B43C-BFE585BF17F9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D6C4273-07E7-A81E-311A-111D6F685379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5189188-60E4-45FE-8188-AFE1A8408DFF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3235B0-19D5-BA0E-FCBD-4322DB31D71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2662571-DD2B-9B84-57A4-C1B42D67DCE3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95717C4-3D77-BC49-DDC9-C4FACA3287AF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93C1594-B4E4-468D-FA12-9B226FA6CE69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26EC354-55FC-6045-51AA-3C585E302B89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D0DB0EE-DAA3-6590-C5F9-A55F04E0901D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B6DD46E-46BA-7591-6AA6-7342C2A2EE3E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9C8C3A-163D-2BD4-C2B9-BC6D49BE2B29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46A2E10-7A2D-D22B-2531-64E2B5E5C5A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4D041B-9DC6-162E-227F-EB9B8B2722AD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F3F7177-CC5C-2F3F-A35E-AA29BD80F55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8C837DA-8299-99CB-E7D5-6764E26950C7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710B419-EB66-53CE-889E-6958B8F38C98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DE2A29C-2421-58A7-014F-431A5136DA72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92CB108C-CECC-F2A4-573E-3CF0C161545F}"/>
              </a:ext>
            </a:extLst>
          </p:cNvPr>
          <p:cNvSpPr txBox="1"/>
          <p:nvPr/>
        </p:nvSpPr>
        <p:spPr>
          <a:xfrm>
            <a:off x="1973536" y="1311907"/>
            <a:ext cx="8351991" cy="32796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/>
              <a:t>No 5º</a:t>
            </a:r>
            <a:r>
              <a:rPr lang="pt-BR" sz="2000" noProof="0"/>
              <a:t> dia de pós-operatório: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Febre: 38,5 °C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Taquicardia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 err="1"/>
              <a:t>Taquidispneia</a:t>
            </a:r>
            <a:r>
              <a:rPr lang="pt-BR" sz="2000" noProof="0" dirty="0"/>
              <a:t> ao exame físico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Presença de estertores predominantes em pulmão direito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/>
              <a:t>Raio x com infiltrado difuso bilateral</a:t>
            </a:r>
            <a:endParaRPr lang="pt-BR"/>
          </a:p>
          <a:p>
            <a:pPr algn="just">
              <a:lnSpc>
                <a:spcPct val="150000"/>
              </a:lnSpc>
            </a:pPr>
            <a:endParaRPr lang="pt-BR" sz="2000" noProof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F1427DE-10EF-FD9E-702A-360A917ED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0EBA9C31-C0BD-C291-5E73-406EBB93EBFE}"/>
              </a:ext>
            </a:extLst>
          </p:cNvPr>
          <p:cNvSpPr/>
          <p:nvPr/>
        </p:nvSpPr>
        <p:spPr>
          <a:xfrm rot="16200000">
            <a:off x="900446" y="1188855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7D47F812-4945-C6B5-C75E-02D70C0DE1FF}"/>
              </a:ext>
            </a:extLst>
          </p:cNvPr>
          <p:cNvSpPr/>
          <p:nvPr/>
        </p:nvSpPr>
        <p:spPr>
          <a:xfrm rot="16200000">
            <a:off x="10895487" y="5810514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7937435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8C45B24-5EE4-218F-75C7-D9EFA6E772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20620" r="1245" b="20011"/>
          <a:stretch/>
        </p:blipFill>
        <p:spPr>
          <a:xfrm>
            <a:off x="2321596" y="482985"/>
            <a:ext cx="8237677" cy="543316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8" progId="TCLayout.ActiveDocument.1">
                  <p:embed/>
                </p:oleObj>
              </mc:Choice>
              <mc:Fallback>
                <p:oleObj name="think-cell Slide" r:id="rId5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569576" y="1546035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2</a:t>
            </a:r>
          </a:p>
        </p:txBody>
      </p:sp>
    </p:spTree>
    <p:extLst>
      <p:ext uri="{BB962C8B-B14F-4D97-AF65-F5344CB8AC3E}">
        <p14:creationId xmlns:p14="http://schemas.microsoft.com/office/powerpoint/2010/main" val="4034410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46011-4521-36FB-B965-79E0E9EFE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B021494-65EF-EC5B-4521-4F1C5CB7DC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21494-65EF-EC5B-4521-4F1C5CB7D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88BECA3B-3E18-0440-79D6-BB71687A9E37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5FCDF6E-FDD1-AC8E-25BA-A9270436A666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527EAA7-4D23-22CC-056B-C8B133969034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80641C2-963B-6524-DDC1-895319B7450B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232BE4-42AB-268B-A2DD-B8CCE71424E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1009E3-7401-C1B3-96D8-BC58E4498A7A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3014D19-8B4C-F093-F98A-BC2A86200D0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58F92F6-317B-5236-CC6E-3FCE14B57C0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A593C8-2772-4B45-AAE5-BADDF3B2D7B3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582444D-F345-1D60-A477-1E4853689B1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BB6534F-60A3-C894-BFAF-048B86BC101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926FC62-98BC-BECE-69DF-79DFB18E52AA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42FDB3C-26FF-88F2-AEAF-924BBA0CD5E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1D9DDC-4DD8-47AA-586D-80D1F31CD2B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428B774-2A18-09A0-1060-F10DBE29B7E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3C5F959-8220-D3C7-22DD-17669376F840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85A3929-34A0-9E80-B053-FB1649582CA3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14B2647-5124-F889-0639-90FC13F1F8DB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494219E-6DE8-5C76-59FC-58C6FA27906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CA64FB8-0ABE-4AA5-257C-6A1D5B7660A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CF4C304-CE91-0BAB-6529-F9E911DE0AC7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1492A33-42C4-D436-DB75-C20BAF47A283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9D4F7E4-EC7B-74D9-F675-4998D964355D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F41AC1C-0D53-CD8B-56B5-E437235923A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4E06CA-D4C2-05AB-4F28-EE6510C7AD4F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ECD2D37-E259-7EF7-ADE1-A62C218F18E8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A4B0123-2ACD-9B23-CCB9-FDDCE7FE3597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5BEFF8F-F967-40AA-B43C-BFE585BF17F9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D6C4273-07E7-A81E-311A-111D6F685379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5189188-60E4-45FE-8188-AFE1A8408DFF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3235B0-19D5-BA0E-FCBD-4322DB31D71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2662571-DD2B-9B84-57A4-C1B42D67DCE3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95717C4-3D77-BC49-DDC9-C4FACA3287AF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93C1594-B4E4-468D-FA12-9B226FA6CE69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26EC354-55FC-6045-51AA-3C585E302B89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D0DB0EE-DAA3-6590-C5F9-A55F04E0901D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B6DD46E-46BA-7591-6AA6-7342C2A2EE3E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9C8C3A-163D-2BD4-C2B9-BC6D49BE2B29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46A2E10-7A2D-D22B-2531-64E2B5E5C5A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4D041B-9DC6-162E-227F-EB9B8B2722AD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F3F7177-CC5C-2F3F-A35E-AA29BD80F55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8C837DA-8299-99CB-E7D5-6764E26950C7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710B419-EB66-53CE-889E-6958B8F38C98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DE2A29C-2421-58A7-014F-431A5136DA72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F1427DE-10EF-FD9E-702A-360A917ED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8A27907-9E44-AB82-7DC9-D8EAE5E4A832}"/>
              </a:ext>
            </a:extLst>
          </p:cNvPr>
          <p:cNvSpPr txBox="1"/>
          <p:nvPr/>
        </p:nvSpPr>
        <p:spPr>
          <a:xfrm>
            <a:off x="5197297" y="1231463"/>
            <a:ext cx="9207072" cy="37412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2000" b="1" noProof="0" dirty="0"/>
              <a:t>No </a:t>
            </a:r>
            <a:r>
              <a:rPr lang="pt-BR" sz="2000" b="1" dirty="0"/>
              <a:t>6º</a:t>
            </a:r>
            <a:r>
              <a:rPr lang="pt-BR" sz="2000" b="1" noProof="0" dirty="0"/>
              <a:t> dia de pós-operatório: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Raio x com </a:t>
            </a:r>
            <a:r>
              <a:rPr lang="pt-BR" sz="2000"/>
              <a:t>infiltrado bilateral</a:t>
            </a:r>
            <a:endParaRPr lang="pt-BR" sz="2000" dirty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/>
              <a:t>Aumento da quantidade de secreção traqueal</a:t>
            </a:r>
            <a:endParaRPr lang="pt-BR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Aspecto espesso e purulento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Necessidade de aumento dos parâmetros ventilatório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Principalmente </a:t>
            </a:r>
            <a:r>
              <a:rPr lang="pt-BR" sz="2000" noProof="0" dirty="0" err="1"/>
              <a:t>FiO</a:t>
            </a:r>
            <a:r>
              <a:rPr lang="pt-BR" sz="2000" noProof="0" dirty="0"/>
              <a:t>₂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Coletado culturas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noProof="0" dirty="0"/>
              <a:t>Solicitado novo Raio x pulmonar</a:t>
            </a: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D072A28D-96BD-CD4E-9D16-831B665D51B4}"/>
              </a:ext>
            </a:extLst>
          </p:cNvPr>
          <p:cNvSpPr/>
          <p:nvPr/>
        </p:nvSpPr>
        <p:spPr>
          <a:xfrm rot="16200000">
            <a:off x="11059783" y="6044763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  <p:pic>
        <p:nvPicPr>
          <p:cNvPr id="4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B50E9423-FF0D-1A58-BA28-F0DB1E5B8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31" y="1895513"/>
            <a:ext cx="3891100" cy="336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5A5F7651-B0E8-A156-923C-83FF59CC2A1F}"/>
              </a:ext>
            </a:extLst>
          </p:cNvPr>
          <p:cNvSpPr txBox="1"/>
          <p:nvPr/>
        </p:nvSpPr>
        <p:spPr>
          <a:xfrm>
            <a:off x="1642373" y="3117252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2</a:t>
            </a: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0D26A812-2716-C1C4-62B3-48E538D52C8B}"/>
              </a:ext>
            </a:extLst>
          </p:cNvPr>
          <p:cNvSpPr/>
          <p:nvPr/>
        </p:nvSpPr>
        <p:spPr>
          <a:xfrm rot="16200000">
            <a:off x="4643201" y="1395704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7457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A1E9E-0BF0-7ABA-4CBE-62203B5F1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Retângulo 1040">
            <a:extLst>
              <a:ext uri="{FF2B5EF4-FFF2-40B4-BE49-F238E27FC236}">
                <a16:creationId xmlns:a16="http://schemas.microsoft.com/office/drawing/2014/main" id="{DFF87E2E-5626-0D35-B768-DB2B01543CDD}"/>
              </a:ext>
            </a:extLst>
          </p:cNvPr>
          <p:cNvSpPr/>
          <p:nvPr/>
        </p:nvSpPr>
        <p:spPr>
          <a:xfrm>
            <a:off x="0" y="1163740"/>
            <a:ext cx="12183195" cy="4958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45DC7D5-9C7F-C396-CFDF-DE68C3C48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DC7D5-9C7F-C396-CFDF-DE68C3C4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>
            <a:extLst>
              <a:ext uri="{FF2B5EF4-FFF2-40B4-BE49-F238E27FC236}">
                <a16:creationId xmlns:a16="http://schemas.microsoft.com/office/drawing/2014/main" id="{08DBD111-C9C3-BA60-F883-04D55540E07D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4" name="Freeform: Shape 13">
              <a:extLst>
                <a:ext uri="{FF2B5EF4-FFF2-40B4-BE49-F238E27FC236}">
                  <a16:creationId xmlns:a16="http://schemas.microsoft.com/office/drawing/2014/main" id="{0D50F238-15AB-C246-5C38-37918EE553A6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6">
              <a:extLst>
                <a:ext uri="{FF2B5EF4-FFF2-40B4-BE49-F238E27FC236}">
                  <a16:creationId xmlns:a16="http://schemas.microsoft.com/office/drawing/2014/main" id="{0CF0F839-7D27-B161-7DE3-E191A9F22D33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17">
              <a:extLst>
                <a:ext uri="{FF2B5EF4-FFF2-40B4-BE49-F238E27FC236}">
                  <a16:creationId xmlns:a16="http://schemas.microsoft.com/office/drawing/2014/main" id="{07265F36-AB56-3075-BAFF-E086B4C8052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18">
              <a:extLst>
                <a:ext uri="{FF2B5EF4-FFF2-40B4-BE49-F238E27FC236}">
                  <a16:creationId xmlns:a16="http://schemas.microsoft.com/office/drawing/2014/main" id="{4002BB59-F612-46D5-C44F-6BFFC1E49767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19">
              <a:extLst>
                <a:ext uri="{FF2B5EF4-FFF2-40B4-BE49-F238E27FC236}">
                  <a16:creationId xmlns:a16="http://schemas.microsoft.com/office/drawing/2014/main" id="{B091C4FB-394F-AA6D-21C9-960D40DD8A50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9" name="Freeform: Shape 20">
              <a:extLst>
                <a:ext uri="{FF2B5EF4-FFF2-40B4-BE49-F238E27FC236}">
                  <a16:creationId xmlns:a16="http://schemas.microsoft.com/office/drawing/2014/main" id="{23AA50EE-2A8C-3FD2-E367-2252CCDE6B29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0" name="Freeform: Shape 21">
              <a:extLst>
                <a:ext uri="{FF2B5EF4-FFF2-40B4-BE49-F238E27FC236}">
                  <a16:creationId xmlns:a16="http://schemas.microsoft.com/office/drawing/2014/main" id="{28BC7D20-E10F-E89B-1661-51F22EF83E12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1" name="Freeform: Shape 22">
              <a:extLst>
                <a:ext uri="{FF2B5EF4-FFF2-40B4-BE49-F238E27FC236}">
                  <a16:creationId xmlns:a16="http://schemas.microsoft.com/office/drawing/2014/main" id="{E1C44554-7585-2BA2-5A5B-02179E483C8F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2" name="Freeform: Shape 23">
              <a:extLst>
                <a:ext uri="{FF2B5EF4-FFF2-40B4-BE49-F238E27FC236}">
                  <a16:creationId xmlns:a16="http://schemas.microsoft.com/office/drawing/2014/main" id="{80866DD4-F409-70CD-8B4F-753ED942AB70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3" name="Freeform: Shape 24">
              <a:extLst>
                <a:ext uri="{FF2B5EF4-FFF2-40B4-BE49-F238E27FC236}">
                  <a16:creationId xmlns:a16="http://schemas.microsoft.com/office/drawing/2014/main" id="{96DD0BEE-9FF2-9DC3-1052-4D76704FB526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4" name="Freeform: Shape 25">
              <a:extLst>
                <a:ext uri="{FF2B5EF4-FFF2-40B4-BE49-F238E27FC236}">
                  <a16:creationId xmlns:a16="http://schemas.microsoft.com/office/drawing/2014/main" id="{FF30B6EE-044B-02C0-9D79-2A197426C95F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5" name="Freeform: Shape 26">
              <a:extLst>
                <a:ext uri="{FF2B5EF4-FFF2-40B4-BE49-F238E27FC236}">
                  <a16:creationId xmlns:a16="http://schemas.microsoft.com/office/drawing/2014/main" id="{C31C6F55-721D-BA24-849D-2929B250A28D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6" name="Freeform: Shape 27">
              <a:extLst>
                <a:ext uri="{FF2B5EF4-FFF2-40B4-BE49-F238E27FC236}">
                  <a16:creationId xmlns:a16="http://schemas.microsoft.com/office/drawing/2014/main" id="{DAD26F85-CF3E-0250-48EA-C9F58EAC4CA9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7" name="Freeform: Shape 28">
              <a:extLst>
                <a:ext uri="{FF2B5EF4-FFF2-40B4-BE49-F238E27FC236}">
                  <a16:creationId xmlns:a16="http://schemas.microsoft.com/office/drawing/2014/main" id="{E1186864-1D0D-7308-8D3B-71137F7BE631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8" name="Freeform: Shape 29">
              <a:extLst>
                <a:ext uri="{FF2B5EF4-FFF2-40B4-BE49-F238E27FC236}">
                  <a16:creationId xmlns:a16="http://schemas.microsoft.com/office/drawing/2014/main" id="{3B95E5AC-C57E-CAD8-2DA1-8DA2DE2C8C67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9" name="Freeform: Shape 30">
              <a:extLst>
                <a:ext uri="{FF2B5EF4-FFF2-40B4-BE49-F238E27FC236}">
                  <a16:creationId xmlns:a16="http://schemas.microsoft.com/office/drawing/2014/main" id="{F875DE48-DFD9-1CFC-D6F6-C30D4830E4D4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0" name="Freeform: Shape 31">
              <a:extLst>
                <a:ext uri="{FF2B5EF4-FFF2-40B4-BE49-F238E27FC236}">
                  <a16:creationId xmlns:a16="http://schemas.microsoft.com/office/drawing/2014/main" id="{4DD537A1-3ECD-F447-AF6B-81E5A8537CB3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1" name="Freeform: Shape 32">
              <a:extLst>
                <a:ext uri="{FF2B5EF4-FFF2-40B4-BE49-F238E27FC236}">
                  <a16:creationId xmlns:a16="http://schemas.microsoft.com/office/drawing/2014/main" id="{14951D85-61D3-B314-2638-21BABBF16187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2" name="Freeform: Shape 33">
              <a:extLst>
                <a:ext uri="{FF2B5EF4-FFF2-40B4-BE49-F238E27FC236}">
                  <a16:creationId xmlns:a16="http://schemas.microsoft.com/office/drawing/2014/main" id="{9373E6E1-60E6-6130-4FA1-2E5D4796B91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3" name="Freeform: Shape 34">
              <a:extLst>
                <a:ext uri="{FF2B5EF4-FFF2-40B4-BE49-F238E27FC236}">
                  <a16:creationId xmlns:a16="http://schemas.microsoft.com/office/drawing/2014/main" id="{BA5FD5DD-7264-2B33-EE7C-7E3082F9ECE2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4" name="Freeform: Shape 35">
              <a:extLst>
                <a:ext uri="{FF2B5EF4-FFF2-40B4-BE49-F238E27FC236}">
                  <a16:creationId xmlns:a16="http://schemas.microsoft.com/office/drawing/2014/main" id="{36E50FA4-3399-D0CF-9754-963249F3F002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5" name="Freeform: Shape 36">
              <a:extLst>
                <a:ext uri="{FF2B5EF4-FFF2-40B4-BE49-F238E27FC236}">
                  <a16:creationId xmlns:a16="http://schemas.microsoft.com/office/drawing/2014/main" id="{5EFADA62-09F0-61B8-BFD6-10351CE7F15C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6" name="Freeform: Shape 37">
              <a:extLst>
                <a:ext uri="{FF2B5EF4-FFF2-40B4-BE49-F238E27FC236}">
                  <a16:creationId xmlns:a16="http://schemas.microsoft.com/office/drawing/2014/main" id="{14156132-66AF-7DC6-165A-202FDB05333D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7" name="Freeform: Shape 38">
              <a:extLst>
                <a:ext uri="{FF2B5EF4-FFF2-40B4-BE49-F238E27FC236}">
                  <a16:creationId xmlns:a16="http://schemas.microsoft.com/office/drawing/2014/main" id="{92B826E7-CFBB-0CAA-0CB2-250D37136FC6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8" name="Freeform: Shape 39">
              <a:extLst>
                <a:ext uri="{FF2B5EF4-FFF2-40B4-BE49-F238E27FC236}">
                  <a16:creationId xmlns:a16="http://schemas.microsoft.com/office/drawing/2014/main" id="{DDB25699-0E80-E26B-4C2A-B2D0D73E44F2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9" name="Freeform: Shape 40">
              <a:extLst>
                <a:ext uri="{FF2B5EF4-FFF2-40B4-BE49-F238E27FC236}">
                  <a16:creationId xmlns:a16="http://schemas.microsoft.com/office/drawing/2014/main" id="{B5A62077-C7D3-F86A-BC23-30344F668A78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0" name="Freeform: Shape 41">
              <a:extLst>
                <a:ext uri="{FF2B5EF4-FFF2-40B4-BE49-F238E27FC236}">
                  <a16:creationId xmlns:a16="http://schemas.microsoft.com/office/drawing/2014/main" id="{11144680-745F-E6C6-9907-C3EB33D5D029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1" name="Freeform: Shape 42">
              <a:extLst>
                <a:ext uri="{FF2B5EF4-FFF2-40B4-BE49-F238E27FC236}">
                  <a16:creationId xmlns:a16="http://schemas.microsoft.com/office/drawing/2014/main" id="{66512126-BB14-D2A6-3EEE-F28842BC83B5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2" name="Freeform: Shape 43">
              <a:extLst>
                <a:ext uri="{FF2B5EF4-FFF2-40B4-BE49-F238E27FC236}">
                  <a16:creationId xmlns:a16="http://schemas.microsoft.com/office/drawing/2014/main" id="{2245CEE3-9BB8-EF98-663A-F5369D7D64EB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3" name="Freeform: Shape 44">
              <a:extLst>
                <a:ext uri="{FF2B5EF4-FFF2-40B4-BE49-F238E27FC236}">
                  <a16:creationId xmlns:a16="http://schemas.microsoft.com/office/drawing/2014/main" id="{B0053CEF-CA4F-A04D-D79F-21637A05CCA0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4" name="Freeform: Shape 45">
              <a:extLst>
                <a:ext uri="{FF2B5EF4-FFF2-40B4-BE49-F238E27FC236}">
                  <a16:creationId xmlns:a16="http://schemas.microsoft.com/office/drawing/2014/main" id="{5DDDC643-D8B5-9A9B-5995-B5238D25EF8B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5" name="Freeform: Shape 46">
              <a:extLst>
                <a:ext uri="{FF2B5EF4-FFF2-40B4-BE49-F238E27FC236}">
                  <a16:creationId xmlns:a16="http://schemas.microsoft.com/office/drawing/2014/main" id="{4E123551-41DB-72C5-E4C7-684166F88708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6" name="Freeform: Shape 47">
              <a:extLst>
                <a:ext uri="{FF2B5EF4-FFF2-40B4-BE49-F238E27FC236}">
                  <a16:creationId xmlns:a16="http://schemas.microsoft.com/office/drawing/2014/main" id="{DF85E865-382B-4862-194F-F9A677D7AAB9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7" name="Freeform: Shape 48">
              <a:extLst>
                <a:ext uri="{FF2B5EF4-FFF2-40B4-BE49-F238E27FC236}">
                  <a16:creationId xmlns:a16="http://schemas.microsoft.com/office/drawing/2014/main" id="{62849355-BC68-96D5-A5F8-83A5B9CD47A5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8" name="Freeform: Shape 49">
              <a:extLst>
                <a:ext uri="{FF2B5EF4-FFF2-40B4-BE49-F238E27FC236}">
                  <a16:creationId xmlns:a16="http://schemas.microsoft.com/office/drawing/2014/main" id="{780A3B7A-B4C0-9670-6AE7-834498C847CB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9" name="Freeform: Shape 50">
              <a:extLst>
                <a:ext uri="{FF2B5EF4-FFF2-40B4-BE49-F238E27FC236}">
                  <a16:creationId xmlns:a16="http://schemas.microsoft.com/office/drawing/2014/main" id="{3206EF38-59D8-2710-5668-ECC8D9CC9538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0" name="Freeform: Shape 51">
              <a:extLst>
                <a:ext uri="{FF2B5EF4-FFF2-40B4-BE49-F238E27FC236}">
                  <a16:creationId xmlns:a16="http://schemas.microsoft.com/office/drawing/2014/main" id="{1A8794DB-9C99-2D71-2964-CB8E7FA83014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1" name="Freeform: Shape 52">
              <a:extLst>
                <a:ext uri="{FF2B5EF4-FFF2-40B4-BE49-F238E27FC236}">
                  <a16:creationId xmlns:a16="http://schemas.microsoft.com/office/drawing/2014/main" id="{D21E6821-A0A9-B648-142D-7E184CB4CC06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2" name="Freeform: Shape 53">
              <a:extLst>
                <a:ext uri="{FF2B5EF4-FFF2-40B4-BE49-F238E27FC236}">
                  <a16:creationId xmlns:a16="http://schemas.microsoft.com/office/drawing/2014/main" id="{B8374283-7F4E-9FA6-4393-315FE51DF21B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3" name="Freeform: Shape 54">
              <a:extLst>
                <a:ext uri="{FF2B5EF4-FFF2-40B4-BE49-F238E27FC236}">
                  <a16:creationId xmlns:a16="http://schemas.microsoft.com/office/drawing/2014/main" id="{9936F1BB-961B-C803-F70E-910E6E9B2EE9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4" name="Freeform: Shape 55">
              <a:extLst>
                <a:ext uri="{FF2B5EF4-FFF2-40B4-BE49-F238E27FC236}">
                  <a16:creationId xmlns:a16="http://schemas.microsoft.com/office/drawing/2014/main" id="{B5D6E8CA-F91E-452F-5BF6-3C71C5142BC5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5" name="Freeform: Shape 56">
              <a:extLst>
                <a:ext uri="{FF2B5EF4-FFF2-40B4-BE49-F238E27FC236}">
                  <a16:creationId xmlns:a16="http://schemas.microsoft.com/office/drawing/2014/main" id="{76C8C83D-BE09-0069-07B4-95941FEF0CEA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6" name="Freeform: Shape 57">
              <a:extLst>
                <a:ext uri="{FF2B5EF4-FFF2-40B4-BE49-F238E27FC236}">
                  <a16:creationId xmlns:a16="http://schemas.microsoft.com/office/drawing/2014/main" id="{FE0C1E0B-AEC5-4929-406B-960515A78738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D374E2CE-D33F-E20F-1436-E6E31BE65705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>
                <a:solidFill>
                  <a:srgbClr val="3299B1"/>
                </a:solidFill>
                <a:latin typeface="Agency FB"/>
              </a:rPr>
              <a:t>Dinâmica - Explicação</a:t>
            </a:r>
            <a:endParaRPr lang="pt-BR" sz="3600" b="1" dirty="0">
              <a:solidFill>
                <a:srgbClr val="3299B1"/>
              </a:solidFill>
              <a:latin typeface="Agency FB" panose="020B0503020202020204" pitchFamily="34" charset="0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1DBD6F51-FBE5-C735-F40E-8BF4268DEA87}"/>
              </a:ext>
            </a:extLst>
          </p:cNvPr>
          <p:cNvSpPr/>
          <p:nvPr/>
        </p:nvSpPr>
        <p:spPr>
          <a:xfrm>
            <a:off x="514057" y="304876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1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EE10865E-0839-E296-F27C-2D24445EC90F}"/>
              </a:ext>
            </a:extLst>
          </p:cNvPr>
          <p:cNvSpPr/>
          <p:nvPr/>
        </p:nvSpPr>
        <p:spPr>
          <a:xfrm>
            <a:off x="4698345" y="2994295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2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6303B699-8504-17FA-0A48-108473168354}"/>
              </a:ext>
            </a:extLst>
          </p:cNvPr>
          <p:cNvSpPr/>
          <p:nvPr/>
        </p:nvSpPr>
        <p:spPr>
          <a:xfrm>
            <a:off x="8768459" y="3131507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3</a:t>
            </a:r>
          </a:p>
        </p:txBody>
      </p:sp>
      <p:graphicFrame>
        <p:nvGraphicFramePr>
          <p:cNvPr id="42" name="Tabela 41">
            <a:extLst>
              <a:ext uri="{FF2B5EF4-FFF2-40B4-BE49-F238E27FC236}">
                <a16:creationId xmlns:a16="http://schemas.microsoft.com/office/drawing/2014/main" id="{DDBBFB7F-A98A-B5A9-8C2B-6A03C7CE59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8688288"/>
              </p:ext>
            </p:extLst>
          </p:nvPr>
        </p:nvGraphicFramePr>
        <p:xfrm>
          <a:off x="1975454" y="156859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51" name="Tabela 50">
            <a:extLst>
              <a:ext uri="{FF2B5EF4-FFF2-40B4-BE49-F238E27FC236}">
                <a16:creationId xmlns:a16="http://schemas.microsoft.com/office/drawing/2014/main" id="{195D1715-1CEE-0EA6-F18B-9A7DDD5F66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192417"/>
              </p:ext>
            </p:extLst>
          </p:nvPr>
        </p:nvGraphicFramePr>
        <p:xfrm>
          <a:off x="6066630" y="1583418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52" name="Tabela 51">
            <a:extLst>
              <a:ext uri="{FF2B5EF4-FFF2-40B4-BE49-F238E27FC236}">
                <a16:creationId xmlns:a16="http://schemas.microsoft.com/office/drawing/2014/main" id="{37E824F1-54EA-98C4-3946-BA66FB94D2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055406"/>
              </p:ext>
            </p:extLst>
          </p:nvPr>
        </p:nvGraphicFramePr>
        <p:xfrm>
          <a:off x="10093185" y="159032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1035" name="Retângulo 1034">
            <a:extLst>
              <a:ext uri="{FF2B5EF4-FFF2-40B4-BE49-F238E27FC236}">
                <a16:creationId xmlns:a16="http://schemas.microsoft.com/office/drawing/2014/main" id="{E9638A43-F777-9D4B-C1EF-58DEB5926201}"/>
              </a:ext>
            </a:extLst>
          </p:cNvPr>
          <p:cNvSpPr/>
          <p:nvPr/>
        </p:nvSpPr>
        <p:spPr>
          <a:xfrm>
            <a:off x="2625231" y="5531351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4</a:t>
            </a:r>
          </a:p>
        </p:txBody>
      </p:sp>
      <p:sp>
        <p:nvSpPr>
          <p:cNvPr id="1036" name="Retângulo 1035">
            <a:extLst>
              <a:ext uri="{FF2B5EF4-FFF2-40B4-BE49-F238E27FC236}">
                <a16:creationId xmlns:a16="http://schemas.microsoft.com/office/drawing/2014/main" id="{852C8FD0-8A55-24CD-6C98-A65582FC84C3}"/>
              </a:ext>
            </a:extLst>
          </p:cNvPr>
          <p:cNvSpPr/>
          <p:nvPr/>
        </p:nvSpPr>
        <p:spPr>
          <a:xfrm>
            <a:off x="6616157" y="551830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5</a:t>
            </a:r>
          </a:p>
        </p:txBody>
      </p:sp>
      <p:graphicFrame>
        <p:nvGraphicFramePr>
          <p:cNvPr id="1038" name="Tabela 1037">
            <a:extLst>
              <a:ext uri="{FF2B5EF4-FFF2-40B4-BE49-F238E27FC236}">
                <a16:creationId xmlns:a16="http://schemas.microsoft.com/office/drawing/2014/main" id="{24BDE4DB-571C-B2A9-A9C8-D206AF8E01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970147"/>
              </p:ext>
            </p:extLst>
          </p:nvPr>
        </p:nvGraphicFramePr>
        <p:xfrm>
          <a:off x="3987145" y="4032740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1039" name="Tabela 1038">
            <a:extLst>
              <a:ext uri="{FF2B5EF4-FFF2-40B4-BE49-F238E27FC236}">
                <a16:creationId xmlns:a16="http://schemas.microsoft.com/office/drawing/2014/main" id="{01715B23-0266-C264-77D8-4C647A2789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761313"/>
              </p:ext>
            </p:extLst>
          </p:nvPr>
        </p:nvGraphicFramePr>
        <p:xfrm>
          <a:off x="8036631" y="404755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6" name="Freeform 3">
            <a:extLst>
              <a:ext uri="{FF2B5EF4-FFF2-40B4-BE49-F238E27FC236}">
                <a16:creationId xmlns:a16="http://schemas.microsoft.com/office/drawing/2014/main" id="{BB7CFC9C-538A-B263-5C01-82342917CEE2}"/>
              </a:ext>
            </a:extLst>
          </p:cNvPr>
          <p:cNvSpPr/>
          <p:nvPr/>
        </p:nvSpPr>
        <p:spPr>
          <a:xfrm>
            <a:off x="263731" y="1380552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4C0BC16C-445E-FAC9-A85C-9E926965E9CC}"/>
              </a:ext>
            </a:extLst>
          </p:cNvPr>
          <p:cNvSpPr/>
          <p:nvPr/>
        </p:nvSpPr>
        <p:spPr>
          <a:xfrm>
            <a:off x="4410173" y="133067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35170741-7BF9-FE03-1552-C0B2088898A7}"/>
              </a:ext>
            </a:extLst>
          </p:cNvPr>
          <p:cNvSpPr/>
          <p:nvPr/>
        </p:nvSpPr>
        <p:spPr>
          <a:xfrm>
            <a:off x="2341289" y="386439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C9D71E3F-EE08-4E45-75A9-19E2773294E2}"/>
              </a:ext>
            </a:extLst>
          </p:cNvPr>
          <p:cNvSpPr/>
          <p:nvPr/>
        </p:nvSpPr>
        <p:spPr>
          <a:xfrm>
            <a:off x="6332215" y="3848934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4" name="Freeform 3">
            <a:extLst>
              <a:ext uri="{FF2B5EF4-FFF2-40B4-BE49-F238E27FC236}">
                <a16:creationId xmlns:a16="http://schemas.microsoft.com/office/drawing/2014/main" id="{E618129A-746B-136E-06F5-4B9B813BCCE9}"/>
              </a:ext>
            </a:extLst>
          </p:cNvPr>
          <p:cNvSpPr/>
          <p:nvPr/>
        </p:nvSpPr>
        <p:spPr>
          <a:xfrm>
            <a:off x="8454722" y="1470021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174636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FDA784-8168-C526-783F-75B64A999D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D23E89-62F0-8A3B-9C9C-D351010557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D23E89-62F0-8A3B-9C9C-D3510105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6016A7AC-56DF-4806-DEC4-39E368E21E30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2963EB6-B2AE-E073-74A0-658D045C3CC7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D5FBE0B-7541-8FA2-89FC-C4B8CEE3B121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8E3F34A-D336-1E1E-B62E-3D0B9A62FF7D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4903456-BFB3-E501-795E-6481D93CA260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E47B05E-241B-9F82-683C-8B84399A75E8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778C8F7-4FA8-ACCC-B806-50939AD5438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93FA618-3239-F815-E314-4992F675882D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0BA3988-06C0-5C84-B03B-EFD6905D43B2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A9B7DD0-7DAB-3DF6-2A10-C7511AFB972E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0A86353-B950-5082-E020-0A65B9505B1B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D5C335C-FD27-1AF8-E996-A340CEBD3133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6B3BAA2-66D2-9022-AF0B-0A05DA0CFA7E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F12D0F9-32E2-D438-22D5-A986DC727918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18DFD39-AA0B-B05A-2ED4-BF9DD7A7F30C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89C86F2-2E14-6B26-C7E5-60FEE339A45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817E1E0-B48B-F0DB-BB83-CAD28BA98238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B93DD42-DDB2-C2AD-D4A9-44192C2C3F5B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B08CD03-F7DD-A530-9D14-82D69DD66E3A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2E65A84-6CE6-4F24-ED35-79EB49DA188C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C4CA524-1F79-4CAE-1A46-DD01D6AAD4F5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0663854-9C87-A7DD-CE1E-7A187D4685F2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46F8AA2-EE2B-AAFF-8F36-38ABBC1F755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40A0AA7-2534-F8F2-4C21-EA6E8D6DDEA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411860A-ACBF-26B0-AE8E-D5EFBC98D9F1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914DC68-CBD6-1BCB-BE35-EB3BB5AF36C5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9E3D7D5-9FB1-0D87-40E7-E90CE57EEF8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C609AA4-33AB-9CE8-6468-057EED1F4801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273AD78-9258-E264-7640-7F876E6A5B54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67D3EAA-8A4F-D8CA-8DA2-967ED765E95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9C7BC20-9F99-8C67-D15A-1177D0A8277E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A7FBA50-4719-437A-63FD-9FB871437F78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4D7B9D0-857A-B11C-33A4-88849B83426C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FF0D658-A051-CC73-AC80-9D09F483C1FF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638793E-CB65-EDF1-E6AD-72910E0D3E85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EF1D9A0-C921-A5D2-CE52-A6E08EA0FA6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1D57F9D-81FA-0C8B-30DA-468D5ED64468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309717E8-0917-C841-009D-1BD27E342FCB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040287B-4866-4730-003C-93C85F78C488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471BD7-6AD8-5E48-7D43-585F97A048E0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C2A4EC5-C0DF-B372-B937-14A08507CAFA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E92EF9-AD93-7D5B-BB6A-249BFDB178C2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0FBAB83-6C62-446F-ED1F-5004B8B82D28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CF1D92A-8952-20D1-C5BE-08CCDED0695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AA63E110-E38A-ACDE-55B2-FF13C33390AB}"/>
              </a:ext>
            </a:extLst>
          </p:cNvPr>
          <p:cNvSpPr txBox="1"/>
          <p:nvPr/>
        </p:nvSpPr>
        <p:spPr>
          <a:xfrm>
            <a:off x="1928116" y="1069387"/>
            <a:ext cx="9089058" cy="42863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D7 pós-operatório:</a:t>
            </a:r>
          </a:p>
          <a:p>
            <a:pPr>
              <a:lnSpc>
                <a:spcPct val="150000"/>
              </a:lnSpc>
            </a:pPr>
            <a:r>
              <a:rPr lang="pt-BR" sz="2000" noProof="0" dirty="0"/>
              <a:t>Radiografia de tórax: Novo infiltrado alveolar em base pulmonar direita</a:t>
            </a:r>
          </a:p>
          <a:p>
            <a:pPr>
              <a:lnSpc>
                <a:spcPct val="150000"/>
              </a:lnSpc>
            </a:pPr>
            <a:r>
              <a:rPr lang="pt-BR" sz="2000" noProof="0" dirty="0"/>
              <a:t>Gasometria arterial: Piora da relação </a:t>
            </a:r>
            <a:r>
              <a:rPr lang="pt-BR" sz="2000" noProof="0" dirty="0" err="1"/>
              <a:t>PaO</a:t>
            </a:r>
            <a:r>
              <a:rPr lang="pt-BR" sz="2000" noProof="0" dirty="0"/>
              <a:t>₂/</a:t>
            </a:r>
            <a:r>
              <a:rPr lang="pt-BR" sz="2000" noProof="0" dirty="0" err="1"/>
              <a:t>FiO</a:t>
            </a:r>
            <a:r>
              <a:rPr lang="pt-BR" sz="2000" noProof="0" dirty="0"/>
              <a:t>₂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Leucocitose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Neutrofilia com desvio à esquerda</a:t>
            </a:r>
          </a:p>
          <a:p>
            <a:pPr>
              <a:lnSpc>
                <a:spcPct val="150000"/>
              </a:lnSpc>
            </a:pPr>
            <a:r>
              <a:rPr lang="pt-BR" sz="2000"/>
              <a:t>Plaquetopenia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PCR: 6,8 mg/</a:t>
            </a:r>
            <a:r>
              <a:rPr lang="pt-BR" sz="2000" dirty="0" err="1"/>
              <a:t>dL</a:t>
            </a:r>
            <a:r>
              <a:rPr lang="pt-BR" sz="2000" dirty="0"/>
              <a:t> (Valor anterior: 2,8 mg/</a:t>
            </a:r>
            <a:r>
              <a:rPr lang="pt-BR" sz="2000" dirty="0" err="1"/>
              <a:t>dL</a:t>
            </a:r>
            <a:r>
              <a:rPr lang="pt-BR" sz="2000" dirty="0"/>
              <a:t>)</a:t>
            </a:r>
          </a:p>
          <a:p>
            <a:pPr>
              <a:lnSpc>
                <a:spcPct val="150000"/>
              </a:lnSpc>
            </a:pPr>
            <a:endParaRPr lang="pt-BR" sz="2000" noProof="0" dirty="0"/>
          </a:p>
          <a:p>
            <a:pPr>
              <a:lnSpc>
                <a:spcPct val="150000"/>
              </a:lnSpc>
            </a:pPr>
            <a:endParaRPr lang="pt-BR" sz="2400" noProof="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518FF59-07E3-3094-B245-4E3140FA0ECB}"/>
              </a:ext>
            </a:extLst>
          </p:cNvPr>
          <p:cNvSpPr txBox="1"/>
          <p:nvPr/>
        </p:nvSpPr>
        <p:spPr>
          <a:xfrm>
            <a:off x="2519500" y="361172"/>
            <a:ext cx="3570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noProof="0"/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B3A88DB5-CE23-DAB4-AD14-8F2E38CB1CAB}"/>
              </a:ext>
            </a:extLst>
          </p:cNvPr>
          <p:cNvSpPr/>
          <p:nvPr/>
        </p:nvSpPr>
        <p:spPr>
          <a:xfrm rot="16200000">
            <a:off x="11059783" y="6044763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D65FBE1A-2D9A-B728-7559-B2B73AFF68E0}"/>
              </a:ext>
            </a:extLst>
          </p:cNvPr>
          <p:cNvSpPr/>
          <p:nvPr/>
        </p:nvSpPr>
        <p:spPr>
          <a:xfrm rot="16200000">
            <a:off x="819924" y="1476272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31205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5AB3-7DBC-D757-59F7-204C78BF2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8C45B24-5EE4-218F-75C7-D9EFA6E772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20620" r="1245" b="20011"/>
          <a:stretch/>
        </p:blipFill>
        <p:spPr>
          <a:xfrm>
            <a:off x="2321596" y="482985"/>
            <a:ext cx="8237677" cy="543316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92F21D9-5D03-CD1A-A864-19CF2D86B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8" progId="TCLayout.ActiveDocument.1">
                  <p:embed/>
                </p:oleObj>
              </mc:Choice>
              <mc:Fallback>
                <p:oleObj name="think-cell Slide" r:id="rId5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F21D9-5D03-CD1A-A864-19CF2D86B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E3EF56E-1AB6-D0A8-C7A8-0FA0A548443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6F5311-0687-66F1-D24F-E59613BED7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B5D7D3-65E6-8477-6CA3-73125FDB214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6C56214-A878-E712-E818-C8A91B92D3A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9AA14A-ACD6-176F-B1B4-5E0F8180D2D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2542F7-E923-85F7-A2D1-E80EAD49FB0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82FDA-6A70-B4BB-5A6E-79386BE45D4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512049-B751-D22A-36CB-A31F3614C48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88785A5-3423-F00A-59FF-851F79A747A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921795-0039-A81A-A6A1-AA695F4CF6F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C5F12-FFCD-2F57-798C-14138565D3B2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8074B6-6CED-E5B4-2133-18C76EFF3D4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40683A5-DD86-D11E-0157-93310ACAE783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1B7CFEA-7221-1B55-94EB-6DAE3780228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EF55C0-DAFE-EC95-2C0B-45E468D725A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E4A22B-9532-1C74-B976-46B2813F523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0C0B5F-0B4B-2792-201F-B12052441550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4DB540-D8E2-1FBE-0FDB-C26254ECC39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265E1A-036E-715B-A7D5-FB641ED6472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ECBDD9-B14A-6C9D-84E4-5027C75A450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6A67B9-938A-D4FE-B864-829B2CCBD8D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28F4FA-9B55-517F-1839-6BA503AE21DE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3B2257-75CB-BEA9-E489-950201F3447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0CEAC57-42D2-A073-1B30-D81095F0D8E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836B89-43E2-6791-CA09-5D5FBF3C754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FA4940-2FC9-E206-45C3-DA41E1A9C59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EF797D5-3BC3-38F3-6032-9F169E4B94EE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7971D5-F12B-8CDF-A214-41AC126AB55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BC2F800-26CF-9439-3BA7-6A48EC1F9D0B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EE11CB7-7D59-E8B4-B17A-A3245D8C05A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00B026A-EF04-2FC7-1EC3-98775A929D2B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00B4BC6-8977-A413-D87B-E5F949E387C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3AA59D-E09D-5CFC-F82D-7DB0D6C53001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FE2373B-3911-D7DE-508D-C0535A7E9AF7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9E7687F-CFB6-E39C-BF7F-E5A40EC0CF8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1E8ED3A-0933-EF65-5112-AF9E7D8A5879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084329B-F2BB-B4AD-97DF-678D3DE7DCC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4D9900D-A20F-74B9-6D33-C5AC9246AB67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44985-53C4-6622-DA10-361981D11E04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2A2753D-8819-83BB-22EE-567B00C856E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F598C4-52A2-D2D9-8D62-0A69622961D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476678E-D4C4-945B-1AD9-EB7C5004B44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676F03F-6FC3-FAC8-42AA-E1FB26C7D9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E19AC22-FE68-5F19-03B8-5EF99DD35C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09BC5E5-9058-D846-0F95-065C3CFF9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C8901B0-6348-DB40-2C67-4CFE0A908284}"/>
              </a:ext>
            </a:extLst>
          </p:cNvPr>
          <p:cNvSpPr txBox="1"/>
          <p:nvPr/>
        </p:nvSpPr>
        <p:spPr>
          <a:xfrm>
            <a:off x="5569576" y="1546035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3</a:t>
            </a:r>
          </a:p>
        </p:txBody>
      </p:sp>
    </p:spTree>
    <p:extLst>
      <p:ext uri="{BB962C8B-B14F-4D97-AF65-F5344CB8AC3E}">
        <p14:creationId xmlns:p14="http://schemas.microsoft.com/office/powerpoint/2010/main" val="21801418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1C0A2-1E1B-1532-9E69-F41AE0EAA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CF4E0C-0B00-65DD-6D72-5096ABCE46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CF4E0C-0B00-65DD-6D72-5096ABCE4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EFCE059F-BE53-FFE6-B8E4-3F1DDDC9E6C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90BCDC-60EC-4FB9-762E-3F8F81BF69AD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7D3F2BE-D2ED-AE0B-8BAD-E325EE12DC72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F7216A-C1F5-9ABC-053C-FF5D00C06A0C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34351DD-870F-31B1-27EA-5350D4569448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4AF4A51-CAC1-8E43-BD18-924B882EBB5B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867B5FD-6142-EE84-E6CF-87A3F1E5959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8BA468-E47D-C46A-2F48-83DB7FD6926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B5C4252-1B20-877A-29D6-EFF55402B094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85DD2A6-C37B-80C0-721B-28CD861F6B9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75453EE-CEE7-E0B6-CFBF-488ED3E7903E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A0C2C20-E905-7FAF-3606-FCC6A12CA284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2003E37-807C-56FB-E4B7-5A873237F0E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AD20EF2-9AAD-1DE7-3877-FEFF079C18F0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E009C8E-06CD-7C3E-CC02-9CAFC7D4C225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78AB5EF-7A2F-D607-96DE-6B30745B19CD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DD184AC-9188-27FD-B7AD-DE1933858D1A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B305AF9-DEF0-0655-3D57-C1022C6ABCBE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9468F7A-839E-D820-C500-DE00DC1A1D1C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8F0E593-8DF9-439C-0EE3-6CC2C5599B4B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010FA93-4D16-EACB-F346-B2BC35B1E3DC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E1DFF9E-2E7F-07A2-4BD6-80BB417AF411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9DC6E3F-7AA6-8BEA-3640-A0EAEDBFD18E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F3DAE5-4F03-84BB-6E2C-AA3FBFEF023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D964F92-3F71-2D63-9005-B9CF0F99D288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E2E38C9-4875-0C0A-F989-2A10F80E1DFE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B3A6339-5C4A-492A-F104-F2D2FB44F779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1729C75-5CB1-B2B6-DFE5-08E155C111AA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5D2C19C-EDFF-2A0D-439E-A60216F3A6F4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B78F79A-2AE8-E3CD-52B9-FAB2433E7DE7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F6CD8D3-F7D4-B022-C4B1-347FCC59D9E9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52E7FAB-AEB9-4775-6CF9-B71E0EAA084E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3200BCF-E66E-8708-006F-89DA328FAB5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6ADCEBE-E8BB-341E-8280-C1B6168FC69A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3271548-4849-904C-1DB4-4A4DE95B5D25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87D056FB-0BC5-EA7F-81B6-49F9582083E3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11F7AA-1C63-C87F-0329-7C77D58CC372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6C4B586-FA45-F407-4B8B-0D2891B580CA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2C78067-2644-2B5B-B738-3C555A210F9B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380A83B-3D38-2CBC-130B-81EE73572D47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353EF25-8A2D-B42A-F47E-20607068B19D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0BA96CB-2211-EBAB-78F1-6FE1AB6CFBC3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092EB9D-F4B8-530E-0DAD-7E739607A0FE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AAF484B9-C2CA-98F1-E246-E5E79F99E9DE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09244179-7F8C-EAE1-7B9B-B033D99E68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4A4E299-7FA8-BF49-450C-F7F462DB6F9C}"/>
              </a:ext>
            </a:extLst>
          </p:cNvPr>
          <p:cNvSpPr txBox="1"/>
          <p:nvPr/>
        </p:nvSpPr>
        <p:spPr>
          <a:xfrm>
            <a:off x="6341487" y="1662110"/>
            <a:ext cx="5534387" cy="3002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noProof="0" dirty="0"/>
              <a:t>10º dia pós-operatório </a:t>
            </a:r>
          </a:p>
          <a:p>
            <a:pPr>
              <a:lnSpc>
                <a:spcPct val="150000"/>
              </a:lnSpc>
            </a:pPr>
            <a:r>
              <a:rPr lang="pt-BR" noProof="0" dirty="0"/>
              <a:t>Aspirado traqueal:</a:t>
            </a:r>
          </a:p>
          <a:p>
            <a:pPr lvl="1">
              <a:lnSpc>
                <a:spcPct val="150000"/>
              </a:lnSpc>
            </a:pPr>
            <a:r>
              <a:rPr lang="pt-BR" i="1" noProof="0" dirty="0" err="1"/>
              <a:t>Klebsiella</a:t>
            </a:r>
            <a:r>
              <a:rPr lang="pt-BR" i="1" noProof="0" dirty="0"/>
              <a:t> </a:t>
            </a:r>
            <a:r>
              <a:rPr lang="pt-BR" i="1" noProof="0" dirty="0" err="1"/>
              <a:t>pneumoniae</a:t>
            </a:r>
            <a:r>
              <a:rPr lang="pt-BR" i="1" noProof="0" dirty="0"/>
              <a:t> </a:t>
            </a:r>
            <a:endParaRPr lang="pt-BR" noProof="0" dirty="0"/>
          </a:p>
          <a:p>
            <a:pPr lvl="1">
              <a:lnSpc>
                <a:spcPct val="150000"/>
              </a:lnSpc>
            </a:pPr>
            <a:r>
              <a:rPr lang="pt-BR" noProof="0" dirty="0"/>
              <a:t>Crescimento significativo: &gt;10⁶ UFC/</a:t>
            </a:r>
            <a:r>
              <a:rPr lang="pt-BR" noProof="0" dirty="0" err="1"/>
              <a:t>mL</a:t>
            </a:r>
            <a:endParaRPr lang="pt-BR" noProof="0" dirty="0"/>
          </a:p>
          <a:p>
            <a:pPr>
              <a:lnSpc>
                <a:spcPct val="150000"/>
              </a:lnSpc>
            </a:pPr>
            <a:r>
              <a:rPr lang="pt-BR" noProof="0" dirty="0"/>
              <a:t>Hemoculturas (central e periférica):</a:t>
            </a:r>
          </a:p>
          <a:p>
            <a:pPr lvl="1">
              <a:lnSpc>
                <a:spcPct val="150000"/>
              </a:lnSpc>
            </a:pPr>
            <a:r>
              <a:rPr lang="pt-BR" noProof="0" dirty="0"/>
              <a:t>Negativas</a:t>
            </a:r>
          </a:p>
          <a:p>
            <a:pPr>
              <a:lnSpc>
                <a:spcPct val="150000"/>
              </a:lnSpc>
            </a:pPr>
            <a:endParaRPr lang="pt-BR" sz="2000" noProof="0" dirty="0"/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C1077D61-47CE-7046-976F-D613FC98B8ED}"/>
              </a:ext>
            </a:extLst>
          </p:cNvPr>
          <p:cNvSpPr/>
          <p:nvPr/>
        </p:nvSpPr>
        <p:spPr>
          <a:xfrm rot="16200000">
            <a:off x="5159159" y="191145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8DC23956-ED99-885E-700D-D942CABF29E6}"/>
              </a:ext>
            </a:extLst>
          </p:cNvPr>
          <p:cNvSpPr/>
          <p:nvPr/>
        </p:nvSpPr>
        <p:spPr>
          <a:xfrm rot="16200000">
            <a:off x="11059783" y="6044763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/>
          </a:p>
        </p:txBody>
      </p:sp>
      <p:pic>
        <p:nvPicPr>
          <p:cNvPr id="6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314F4ACA-721D-9F32-660B-07400322BA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31" y="1895513"/>
            <a:ext cx="3891100" cy="336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5824D84D-D42C-C823-0839-88F34EA9B796}"/>
              </a:ext>
            </a:extLst>
          </p:cNvPr>
          <p:cNvSpPr txBox="1"/>
          <p:nvPr/>
        </p:nvSpPr>
        <p:spPr>
          <a:xfrm>
            <a:off x="1642373" y="3117252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3</a:t>
            </a:r>
          </a:p>
        </p:txBody>
      </p:sp>
    </p:spTree>
    <p:extLst>
      <p:ext uri="{BB962C8B-B14F-4D97-AF65-F5344CB8AC3E}">
        <p14:creationId xmlns:p14="http://schemas.microsoft.com/office/powerpoint/2010/main" val="1920200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 animBg="1"/>
      <p:bldP spid="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4EB4DE-54E5-19C8-BE99-01C5E909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4AB520B-B79F-A8E5-5919-51419AF2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B520B-B79F-A8E5-5919-51419AF2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6383451-A5F0-BE47-05F6-21B79B52C29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041EAB-E474-71EB-B4C3-DE9E9796BB5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555D73F-8350-8DD9-93E6-8BA903CDBB0A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344983-50AC-6F45-0953-F8C82942790F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3EEEA2-BFCD-9213-7FC3-8DC806E1843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73F46A7-9304-DC17-6480-BFE1C33292C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F625-1B5F-A385-E870-BB7AEEEDF5A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2D32145-3D76-AB1C-6E44-64AE885BB2F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C5AA2CB-A072-6530-EE42-01EB951697B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5DF0F6D-DF62-76C4-C5C6-061E03C1AE8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ABECB0E-867B-23EE-611F-D47BC967FBD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E3A888-8134-8F26-024E-56658FAE3B7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382948-55A6-1769-E497-B00C520C10C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B65CE3F-FD2B-811E-EF86-8C45658F22CB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B9973D3-E513-6588-D278-F3607FD320B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2CDE6E-FAEE-6D12-F0E7-EC160640A37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6C4898-0419-F456-61D5-D0C7DF92200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E9845B7-F4E0-6E0F-19F9-1353ECF8CC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7A7EC33-63F4-2147-A760-DE3D338DCD2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C8C2520-5A36-D5A5-FC53-2E76BC4F318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014C07-58A7-0C7F-2F16-38782D0FD281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564632B-F55C-531B-4BA9-B6F4A67A156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90613A3-990F-BEEA-7D00-A5D3E33D5951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1046FFC-809A-A965-1F9E-F860DEA72F3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2D373D-04BF-5E3A-1710-A915CF71140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39943F-1D34-C621-DFBC-19103841D9A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4797721-BA92-BBD1-F80A-5E89442A411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0DB635F-B4AD-CC16-6BC4-63D8BFABB08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6A75BA-1C12-EA6D-E0E7-B876B34ACF3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C0372A6-A58C-56C1-B29F-85F952773AE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4CC74E1-F105-23FD-5E85-CD3B5CC3CD7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41785F-5CE3-FCAD-E167-A6B01F5EE739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AF6CF4-CF25-D112-C107-5E92E8226D7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A5CB994-3ADC-1E1C-5980-725E67BDAB8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4126E9-B50A-A055-C998-69C48DD9AA5A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4220802-8A07-CBF3-0849-ADC3A4016CE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0DBF7D-34A7-7E43-FF44-A5E69440C41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232C51-28D9-F6FD-2130-2988EDF37A9F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6C99DC-678B-4992-CB99-E559838619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006989-C64F-A040-2328-D1233857976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6E7AE6A-6474-D555-008E-C70023E38EF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90489B-D041-FAA7-E93F-EA464A4E56A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69D942F-483F-5408-C30D-9CE525A797E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0BD57D-5A94-E587-7E16-91B8D2EE2A3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94FACCC9-4161-DB06-9AA2-752A25688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A6BED10F-C262-DB8C-36BC-1A5150BFBD61}"/>
              </a:ext>
            </a:extLst>
          </p:cNvPr>
          <p:cNvSpPr txBox="1"/>
          <p:nvPr/>
        </p:nvSpPr>
        <p:spPr>
          <a:xfrm>
            <a:off x="5417344" y="2647237"/>
            <a:ext cx="6774655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Esse quadro fecha critérios IRAS?</a:t>
            </a:r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Qual?</a:t>
            </a:r>
            <a:endParaRPr lang="pt-BR" sz="3200" b="1" noProof="0" dirty="0">
              <a:solidFill>
                <a:srgbClr val="46326A"/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00895F46-CFED-5138-181F-8A4C98AF63C8}"/>
              </a:ext>
            </a:extLst>
          </p:cNvPr>
          <p:cNvSpPr txBox="1"/>
          <p:nvPr/>
        </p:nvSpPr>
        <p:spPr>
          <a:xfrm>
            <a:off x="2519500" y="361172"/>
            <a:ext cx="193745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noProof="0"/>
              <a:t>Discussão</a:t>
            </a:r>
          </a:p>
        </p:txBody>
      </p:sp>
      <p:pic>
        <p:nvPicPr>
          <p:cNvPr id="59" name="Picture 6" descr="322 Stick Figure With Thought Bubble Stock Photos, Pictures &amp; Royalty-Free  Images - iStock">
            <a:extLst>
              <a:ext uri="{FF2B5EF4-FFF2-40B4-BE49-F238E27FC236}">
                <a16:creationId xmlns:a16="http://schemas.microsoft.com/office/drawing/2014/main" id="{C75A952B-DDC7-9E3F-03ED-DF9C674AC2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0" r="4427" b="3854"/>
          <a:stretch/>
        </p:blipFill>
        <p:spPr bwMode="auto">
          <a:xfrm>
            <a:off x="-1" y="1469478"/>
            <a:ext cx="4463143" cy="539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CaixaDeTexto 60">
            <a:extLst>
              <a:ext uri="{FF2B5EF4-FFF2-40B4-BE49-F238E27FC236}">
                <a16:creationId xmlns:a16="http://schemas.microsoft.com/office/drawing/2014/main" id="{A180B0EC-7DB7-8AAD-1C7A-78F68D0AF115}"/>
              </a:ext>
            </a:extLst>
          </p:cNvPr>
          <p:cNvSpPr txBox="1"/>
          <p:nvPr/>
        </p:nvSpPr>
        <p:spPr>
          <a:xfrm>
            <a:off x="-418381" y="2605459"/>
            <a:ext cx="6201408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2800" b="1" noProof="0">
                <a:solidFill>
                  <a:srgbClr val="9DC457"/>
                </a:solidFill>
              </a:rPr>
              <a:t>E agora</a:t>
            </a:r>
            <a:r>
              <a:rPr lang="pt-BR" sz="3200" b="1" noProof="0">
                <a:solidFill>
                  <a:srgbClr val="9DC457"/>
                </a:solidFill>
              </a:rPr>
              <a:t>?</a:t>
            </a: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8623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2E494-489D-95A6-489B-8516B827D9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DC5C1A7-7349-0116-9337-C9889BC85B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C5C1A7-7349-0116-9337-C9889BC85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A6D36CD-7394-7062-349E-D5E5C9507357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602C0D2-87C1-82A2-5568-258255EC7996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92E2BFD-8F43-7D9D-2D31-9AFCDE377C1B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8F0272-453E-03A5-29E1-E3174CC348EC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2B4F06-80DD-38C9-38B2-50CF73D4C7B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EE85C0F-0CB2-1BFF-44A0-083D8DF3EA04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8666329-D6C4-1000-6238-C90DFB76BDF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452B3C2-2501-900A-FED4-367319698870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A854546-EED3-62AC-D7BE-98E47C826E50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A768D16-E363-39DF-6081-7D24CED76E8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79B72D-E51C-1110-08A1-12F690FEDC7E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17A0707-7F3D-FCB7-1CE8-851A0181BDBD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F95141-91D2-86A8-0828-B706D2752BD4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931778-2895-CD4A-3D26-78B8E58382A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CE7A0E9-2C63-D26A-A7EF-8822B2ED3075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7E411B4-3539-4414-8391-A35E56EB56B8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9539600-9D9D-7C22-C1A4-EB23C2BFC449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FA86126-88E4-BC5C-18CB-ACE752036EB0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7C4AB93-48B5-9D1F-05F4-ADE53E28EBFA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4A97EBB-4D05-E3E4-A451-C7AD69D8178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FCFEE14-5EDD-6D09-F4C1-CF62AE076DD0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FDA8655-8DD5-6CFB-075A-98D51DBA6C62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1AB4F4-4F03-E647-9CAB-E640FC3088A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D8134AD-1FD5-3196-0CB8-49CC2EBB339C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5E5D562-C5A3-E21A-A7E2-9F475210535C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83461BC-CEFA-839E-CA84-82D2BAB14A6B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7E246EB-6679-B97D-386A-5A931809BD54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2F984F3-C40E-63B2-7BCD-5B2A74430546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73D8CF4-DCE0-1EB9-3027-71BB0BD1C071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B1475DF-AC77-15D2-5B74-A94500025236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50CD310-9559-3F3A-BE74-0D38B9567636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FAB4E94-6479-6416-06A1-97FB9DAE9151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DBAD9FC-613F-D11D-9B01-1D2551CE4E93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43F0E49-858A-C44F-2C39-D935826E31C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EAFB0D2-B073-5DFA-A8F5-C07D6D4FC15C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D44E202-CCDF-A810-7B0F-9C46E6B1D517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64CB97B-B0AC-9B89-DAA7-E26E9F27AD85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5D33B55-A390-8C66-A47C-070BAFE69B38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6A38C7E-86D3-DE17-2C7F-749573E52E77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EF59CB8-4BD5-4051-37FF-1960F74A230B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F25953A-C2F0-1889-864A-30794747FA0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5D7357A-A754-67A1-1EB2-AF249DAE7903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F55923A-D286-9D51-D5BA-FD760CF0DA23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9DD1718-0235-E413-B704-FBA6BC9D3090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E3710BD6-F648-872D-5A16-7A379906A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D45A6E2-8C8A-1B4B-505F-0A19F239FC40}"/>
              </a:ext>
            </a:extLst>
          </p:cNvPr>
          <p:cNvSpPr txBox="1"/>
          <p:nvPr/>
        </p:nvSpPr>
        <p:spPr>
          <a:xfrm>
            <a:off x="7956962" y="6483398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pic>
        <p:nvPicPr>
          <p:cNvPr id="6" name="Imagem 5" descr="Texto&#10;&#10;O conteúdo gerado por IA pode estar incorreto.">
            <a:extLst>
              <a:ext uri="{FF2B5EF4-FFF2-40B4-BE49-F238E27FC236}">
                <a16:creationId xmlns:a16="http://schemas.microsoft.com/office/drawing/2014/main" id="{460F2F76-22CC-9E72-F1B5-4E412E8C3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1273" y="0"/>
            <a:ext cx="8989454" cy="6858000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09A755BB-A270-E62C-4545-A19BB5A2D542}"/>
              </a:ext>
            </a:extLst>
          </p:cNvPr>
          <p:cNvSpPr txBox="1"/>
          <p:nvPr/>
        </p:nvSpPr>
        <p:spPr>
          <a:xfrm>
            <a:off x="7974215" y="4717858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C4CDDE40-FB6A-724E-040D-8F968C420405}"/>
              </a:ext>
            </a:extLst>
          </p:cNvPr>
          <p:cNvSpPr txBox="1"/>
          <p:nvPr/>
        </p:nvSpPr>
        <p:spPr>
          <a:xfrm>
            <a:off x="7968464" y="4252032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E3116888-94B1-B1C0-3FDB-683112D34188}"/>
              </a:ext>
            </a:extLst>
          </p:cNvPr>
          <p:cNvSpPr txBox="1"/>
          <p:nvPr/>
        </p:nvSpPr>
        <p:spPr>
          <a:xfrm>
            <a:off x="7991468" y="3987488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0EC20AB-CCF0-D509-A3B3-876AB5C9F6D0}"/>
              </a:ext>
            </a:extLst>
          </p:cNvPr>
          <p:cNvSpPr txBox="1"/>
          <p:nvPr/>
        </p:nvSpPr>
        <p:spPr>
          <a:xfrm>
            <a:off x="7971339" y="3320379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9AD1ECD7-0917-DC8E-C375-E034CD0588A4}"/>
              </a:ext>
            </a:extLst>
          </p:cNvPr>
          <p:cNvSpPr txBox="1"/>
          <p:nvPr/>
        </p:nvSpPr>
        <p:spPr>
          <a:xfrm>
            <a:off x="7979966" y="1934402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226B9792-F223-15B3-7A9A-4651DFB6B0FC}"/>
              </a:ext>
            </a:extLst>
          </p:cNvPr>
          <p:cNvSpPr txBox="1"/>
          <p:nvPr/>
        </p:nvSpPr>
        <p:spPr>
          <a:xfrm>
            <a:off x="7982841" y="557051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2FCC9BE7-5BFD-DE2D-385F-45EFD283C48F}"/>
              </a:ext>
            </a:extLst>
          </p:cNvPr>
          <p:cNvSpPr txBox="1"/>
          <p:nvPr/>
        </p:nvSpPr>
        <p:spPr>
          <a:xfrm>
            <a:off x="7982841" y="5387842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73" name="CaixaDeTexto 72">
            <a:extLst>
              <a:ext uri="{FF2B5EF4-FFF2-40B4-BE49-F238E27FC236}">
                <a16:creationId xmlns:a16="http://schemas.microsoft.com/office/drawing/2014/main" id="{DF4C5A8F-D1B4-7E27-4A8B-0947608FE2FC}"/>
              </a:ext>
            </a:extLst>
          </p:cNvPr>
          <p:cNvSpPr txBox="1"/>
          <p:nvPr/>
        </p:nvSpPr>
        <p:spPr>
          <a:xfrm>
            <a:off x="7997218" y="5847918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9EC30F48-18C0-C1AB-CC03-E60B3709A92F}"/>
              </a:ext>
            </a:extLst>
          </p:cNvPr>
          <p:cNvSpPr txBox="1"/>
          <p:nvPr/>
        </p:nvSpPr>
        <p:spPr>
          <a:xfrm>
            <a:off x="7979965" y="6233232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59293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5" grpId="0"/>
      <p:bldP spid="59" grpId="0"/>
      <p:bldP spid="61" grpId="0"/>
      <p:bldP spid="63" grpId="0"/>
      <p:bldP spid="65" grpId="0"/>
      <p:bldP spid="69" grpId="0"/>
      <p:bldP spid="71" grpId="0"/>
      <p:bldP spid="73" grpId="0"/>
      <p:bldP spid="75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4EB4DE-54E5-19C8-BE99-01C5E909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4AB520B-B79F-A8E5-5919-51419AF2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B520B-B79F-A8E5-5919-51419AF2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6383451-A5F0-BE47-05F6-21B79B52C294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041EAB-E474-71EB-B4C3-DE9E9796BB5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555D73F-8350-8DD9-93E6-8BA903CDBB0A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344983-50AC-6F45-0953-F8C82942790F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3EEEA2-BFCD-9213-7FC3-8DC806E18439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73F46A7-9304-DC17-6480-BFE1C33292C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F625-1B5F-A385-E870-BB7AEEEDF5A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2D32145-3D76-AB1C-6E44-64AE885BB2F4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C5AA2CB-A072-6530-EE42-01EB951697B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5DF0F6D-DF62-76C4-C5C6-061E03C1AE8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ABECB0E-867B-23EE-611F-D47BC967FBDC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E3A888-8134-8F26-024E-56658FAE3B7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382948-55A6-1769-E497-B00C520C10C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B65CE3F-FD2B-811E-EF86-8C45658F22CB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B9973D3-E513-6588-D278-F3607FD320BD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2CDE6E-FAEE-6D12-F0E7-EC160640A37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6C4898-0419-F456-61D5-D0C7DF92200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E9845B7-F4E0-6E0F-19F9-1353ECF8CC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7A7EC33-63F4-2147-A760-DE3D338DCD2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C8C2520-5A36-D5A5-FC53-2E76BC4F318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014C07-58A7-0C7F-2F16-38782D0FD281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564632B-F55C-531B-4BA9-B6F4A67A1565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90613A3-990F-BEEA-7D00-A5D3E33D5951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1046FFC-809A-A965-1F9E-F860DEA72F3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2D373D-04BF-5E3A-1710-A915CF711404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39943F-1D34-C621-DFBC-19103841D9A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4797721-BA92-BBD1-F80A-5E89442A411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0DB635F-B4AD-CC16-6BC4-63D8BFABB08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96A75BA-1C12-EA6D-E0E7-B876B34ACF3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C0372A6-A58C-56C1-B29F-85F952773AE0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4CC74E1-F105-23FD-5E85-CD3B5CC3CD7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41785F-5CE3-FCAD-E167-A6B01F5EE739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AF6CF4-CF25-D112-C107-5E92E8226D7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A5CB994-3ADC-1E1C-5980-725E67BDAB8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B4126E9-B50A-A055-C998-69C48DD9AA5A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4220802-8A07-CBF3-0849-ADC3A4016CE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0DBF7D-34A7-7E43-FF44-A5E69440C41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232C51-28D9-F6FD-2130-2988EDF37A9F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F6C99DC-678B-4992-CB99-E559838619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006989-C64F-A040-2328-D1233857976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6E7AE6A-6474-D555-008E-C70023E38EF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90489B-D041-FAA7-E93F-EA464A4E56A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69D942F-483F-5408-C30D-9CE525A797E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0BD57D-5A94-E587-7E16-91B8D2EE2A35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94FACCC9-4161-DB06-9AA2-752A25688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28C73AE-775B-675F-667A-DBF59C178BE8}"/>
              </a:ext>
            </a:extLst>
          </p:cNvPr>
          <p:cNvSpPr txBox="1"/>
          <p:nvPr/>
        </p:nvSpPr>
        <p:spPr>
          <a:xfrm>
            <a:off x="2447581" y="218322"/>
            <a:ext cx="3022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/>
              <a:t>Resultado caso 2</a:t>
            </a:r>
            <a:endParaRPr lang="pt-BR" sz="2400" b="1" noProof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0928CB8-3146-67FE-7A31-F289FB6D76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31384">
            <a:off x="2770952" y="366191"/>
            <a:ext cx="6259935" cy="6377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CaixaDeTexto 63">
            <a:extLst>
              <a:ext uri="{FF2B5EF4-FFF2-40B4-BE49-F238E27FC236}">
                <a16:creationId xmlns:a16="http://schemas.microsoft.com/office/drawing/2014/main" id="{28627675-6FC5-86C5-4858-8E66AE74565A}"/>
              </a:ext>
            </a:extLst>
          </p:cNvPr>
          <p:cNvSpPr txBox="1"/>
          <p:nvPr/>
        </p:nvSpPr>
        <p:spPr>
          <a:xfrm rot="20061419">
            <a:off x="2966974" y="3270033"/>
            <a:ext cx="624931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000" b="1" noProof="0">
                <a:solidFill>
                  <a:srgbClr val="FF0000"/>
                </a:solidFill>
              </a:rPr>
              <a:t>PNEUMONIA ASSOCIADA A VM</a:t>
            </a:r>
            <a:endParaRPr lang="pt-BR" sz="2400" b="1" noProof="0">
              <a:solidFill>
                <a:srgbClr val="FF0000"/>
              </a:solidFill>
            </a:endParaRPr>
          </a:p>
          <a:p>
            <a:pPr lvl="0" algn="ctr"/>
            <a:endParaRPr lang="pt-BR" sz="2400" b="1" noProof="0">
              <a:solidFill>
                <a:srgbClr val="FF0000"/>
              </a:solidFill>
            </a:endParaRPr>
          </a:p>
          <a:p>
            <a:pPr lvl="0" algn="ctr"/>
            <a:endParaRPr lang="pt-BR" sz="2400" b="1" noProof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0197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EE7C99E-F26A-F660-BAED-39E43764DD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6D10654-4DBC-7A19-0B05-23D4AE6867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D10654-4DBC-7A19-0B05-23D4AE686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BCC1D86-136D-3821-459D-2AF45AA7ACB0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744ABA9-8522-FC66-65AA-17CBFD337D5E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0AE508B-8206-25B5-4272-FB6CAC19EC2E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CE123D8-DD07-F7D2-A871-6C1514273470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661C5C6-12DD-E6C9-4369-939107EA68C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F083BEA-6315-CDA2-BE73-611731491F2F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1D5BE7D-4A50-D8D7-B025-46772C92927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93AC887-BF4A-3043-7CFC-8AB43612FC33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9E74965-5854-5098-1971-11E94B6F6CCF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FD545D5-5DA0-83FB-6A06-9A85E15C2C23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0A0B292-9250-2E03-3EC8-A19BE6E51E16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6B82C4-2874-366F-5239-F5C84CE7EFFF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3D368BC-197B-D674-CBA5-7C5D1DA04DC7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B09497-C792-A1B0-20DC-329D59E3EA02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F909E03-8A0F-D31E-21DF-0D5599FF9961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165A781-FE8F-25B2-9F96-5077E221211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2BC13-98B0-66E6-22A1-D5947488DABE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6EE0008-FA98-CCDA-9B98-45507E5BE073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5470542-4E8E-B9FD-4140-E4EDAA476E19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EE125C0-2615-A2D2-8D15-C0B7319E9833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9E6A96B-BD08-22D5-D141-B227813B129A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1D91F9A-655E-44DA-B0AD-7A45CD6C223D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ABE9CDA-C3AE-3F81-446D-04BA174C2AF9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14B55CE-0946-69C7-2916-52304964F18D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24D3700-04AF-F236-013D-04651CB38BB6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D0257B4-2E5A-EA04-84DC-EE01CC654AA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CCE62D7-92B0-3A2F-290B-15C1924A0A56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EBD59E3-C862-3671-F856-1122B5188F59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AD253C3-355D-9D7D-EE35-F0F5B002F1DC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E51231A-A9EC-737E-2B31-5E7A83CE0BE2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6417035-632E-AE26-03A5-AC284296B1F7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26EAFF-08C6-3489-BB2D-29DF644D7217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A01B7E9-9DA6-7A31-F2C4-17ADB74315C3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EF5709B-6945-4CB0-E120-9A017893EE82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E085CCE-FA34-14C1-9988-498B184F20C2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8D7156E-45BA-0B5B-0A11-D203455C67C7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4DF27EA-0D0A-D221-9E3A-77E7376DE89A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ADAC928-113A-AF98-4388-0532FA8630E9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7083B38-B571-B7B4-DD1B-ECB5E648DA4B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D5F94D5-298E-1A69-63CC-3E7E54FCB163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9A24751-43A1-A1A0-3273-C8F5159F3DAE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B6E6EE9-D45F-71E2-6882-8272C01614C5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6A53905-8118-9BA8-E4F4-047A5E9EDD81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7A372F5-BDE5-0B7A-6A42-92D534DD940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E57C603E-66A9-B057-0EBB-B2435E17AE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grpSp>
        <p:nvGrpSpPr>
          <p:cNvPr id="206" name="Group 2">
            <a:extLst>
              <a:ext uri="{FF2B5EF4-FFF2-40B4-BE49-F238E27FC236}">
                <a16:creationId xmlns:a16="http://schemas.microsoft.com/office/drawing/2014/main" id="{955311B1-A48A-E555-33A5-86FF51221969}"/>
              </a:ext>
            </a:extLst>
          </p:cNvPr>
          <p:cNvGrpSpPr/>
          <p:nvPr/>
        </p:nvGrpSpPr>
        <p:grpSpPr>
          <a:xfrm>
            <a:off x="835853" y="3405353"/>
            <a:ext cx="1092140" cy="396737"/>
            <a:chOff x="0" y="0"/>
            <a:chExt cx="1370946" cy="498017"/>
          </a:xfrm>
        </p:grpSpPr>
        <p:sp>
          <p:nvSpPr>
            <p:cNvPr id="207" name="Freeform 3">
              <a:extLst>
                <a:ext uri="{FF2B5EF4-FFF2-40B4-BE49-F238E27FC236}">
                  <a16:creationId xmlns:a16="http://schemas.microsoft.com/office/drawing/2014/main" id="{0CE4C550-DF2D-EBDB-CFB3-89FCA840AFDE}"/>
                </a:ext>
              </a:extLst>
            </p:cNvPr>
            <p:cNvSpPr/>
            <p:nvPr/>
          </p:nvSpPr>
          <p:spPr>
            <a:xfrm>
              <a:off x="0" y="0"/>
              <a:ext cx="1370946" cy="498017"/>
            </a:xfrm>
            <a:custGeom>
              <a:avLst/>
              <a:gdLst/>
              <a:ahLst/>
              <a:cxnLst/>
              <a:rect l="l" t="t" r="r" b="b"/>
              <a:pathLst>
                <a:path w="1370946" h="498017">
                  <a:moveTo>
                    <a:pt x="1167746" y="0"/>
                  </a:moveTo>
                  <a:lnTo>
                    <a:pt x="0" y="0"/>
                  </a:lnTo>
                  <a:lnTo>
                    <a:pt x="0" y="498017"/>
                  </a:lnTo>
                  <a:lnTo>
                    <a:pt x="1167746" y="498017"/>
                  </a:lnTo>
                  <a:lnTo>
                    <a:pt x="1370946" y="249008"/>
                  </a:lnTo>
                  <a:lnTo>
                    <a:pt x="1167746" y="0"/>
                  </a:lnTo>
                  <a:close/>
                </a:path>
              </a:pathLst>
            </a:custGeom>
            <a:solidFill>
              <a:srgbClr val="CED5E6"/>
            </a:solidFill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08" name="TextBox 4">
              <a:extLst>
                <a:ext uri="{FF2B5EF4-FFF2-40B4-BE49-F238E27FC236}">
                  <a16:creationId xmlns:a16="http://schemas.microsoft.com/office/drawing/2014/main" id="{8D9A5222-0031-417C-C781-32B0E012BF22}"/>
                </a:ext>
              </a:extLst>
            </p:cNvPr>
            <p:cNvSpPr txBox="1"/>
            <p:nvPr/>
          </p:nvSpPr>
          <p:spPr>
            <a:xfrm>
              <a:off x="0" y="-28575"/>
              <a:ext cx="1256646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0 PO imediato</a:t>
              </a:r>
            </a:p>
          </p:txBody>
        </p:sp>
      </p:grpSp>
      <p:grpSp>
        <p:nvGrpSpPr>
          <p:cNvPr id="209" name="Group 5">
            <a:extLst>
              <a:ext uri="{FF2B5EF4-FFF2-40B4-BE49-F238E27FC236}">
                <a16:creationId xmlns:a16="http://schemas.microsoft.com/office/drawing/2014/main" id="{C7FE8AAE-2953-8215-B566-AC10D44177DE}"/>
              </a:ext>
            </a:extLst>
          </p:cNvPr>
          <p:cNvGrpSpPr/>
          <p:nvPr/>
        </p:nvGrpSpPr>
        <p:grpSpPr>
          <a:xfrm>
            <a:off x="1831650" y="3405353"/>
            <a:ext cx="1148187" cy="396737"/>
            <a:chOff x="0" y="0"/>
            <a:chExt cx="1441300" cy="498017"/>
          </a:xfrm>
        </p:grpSpPr>
        <p:sp>
          <p:nvSpPr>
            <p:cNvPr id="210" name="Freeform 6">
              <a:extLst>
                <a:ext uri="{FF2B5EF4-FFF2-40B4-BE49-F238E27FC236}">
                  <a16:creationId xmlns:a16="http://schemas.microsoft.com/office/drawing/2014/main" id="{A37C4B21-23A6-AEB2-367F-23A9C64CAB59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79BFF"/>
            </a:solidFill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11" name="TextBox 7">
              <a:extLst>
                <a:ext uri="{FF2B5EF4-FFF2-40B4-BE49-F238E27FC236}">
                  <a16:creationId xmlns:a16="http://schemas.microsoft.com/office/drawing/2014/main" id="{8EE3EC60-9759-0ADB-7ECA-DCD66F5A4118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s 1-3</a:t>
              </a:r>
            </a:p>
          </p:txBody>
        </p:sp>
      </p:grpSp>
      <p:grpSp>
        <p:nvGrpSpPr>
          <p:cNvPr id="212" name="Group 8">
            <a:extLst>
              <a:ext uri="{FF2B5EF4-FFF2-40B4-BE49-F238E27FC236}">
                <a16:creationId xmlns:a16="http://schemas.microsoft.com/office/drawing/2014/main" id="{0D4988C6-2DD0-2E9A-004D-B3D4A9767ACD}"/>
              </a:ext>
            </a:extLst>
          </p:cNvPr>
          <p:cNvGrpSpPr/>
          <p:nvPr/>
        </p:nvGrpSpPr>
        <p:grpSpPr>
          <a:xfrm>
            <a:off x="2883494" y="3405353"/>
            <a:ext cx="1148187" cy="396737"/>
            <a:chOff x="0" y="0"/>
            <a:chExt cx="1441300" cy="498017"/>
          </a:xfrm>
        </p:grpSpPr>
        <p:sp>
          <p:nvSpPr>
            <p:cNvPr id="213" name="Freeform 9">
              <a:extLst>
                <a:ext uri="{FF2B5EF4-FFF2-40B4-BE49-F238E27FC236}">
                  <a16:creationId xmlns:a16="http://schemas.microsoft.com/office/drawing/2014/main" id="{FDFEBA41-B4F4-C08E-F8EA-C1FEA69EC7A0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E2E8"/>
            </a:solidFill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14" name="TextBox 10">
              <a:extLst>
                <a:ext uri="{FF2B5EF4-FFF2-40B4-BE49-F238E27FC236}">
                  <a16:creationId xmlns:a16="http://schemas.microsoft.com/office/drawing/2014/main" id="{5F995CEC-4442-B301-19A7-E0A0740DBE85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4</a:t>
              </a:r>
            </a:p>
          </p:txBody>
        </p:sp>
      </p:grpSp>
      <p:grpSp>
        <p:nvGrpSpPr>
          <p:cNvPr id="215" name="Group 11">
            <a:extLst>
              <a:ext uri="{FF2B5EF4-FFF2-40B4-BE49-F238E27FC236}">
                <a16:creationId xmlns:a16="http://schemas.microsoft.com/office/drawing/2014/main" id="{EE781B13-B8DE-96B2-5E82-B0E1C00A5066}"/>
              </a:ext>
            </a:extLst>
          </p:cNvPr>
          <p:cNvGrpSpPr/>
          <p:nvPr/>
        </p:nvGrpSpPr>
        <p:grpSpPr>
          <a:xfrm>
            <a:off x="3935337" y="3405353"/>
            <a:ext cx="1148187" cy="396737"/>
            <a:chOff x="0" y="0"/>
            <a:chExt cx="1441300" cy="498017"/>
          </a:xfrm>
        </p:grpSpPr>
        <p:sp>
          <p:nvSpPr>
            <p:cNvPr id="216" name="Freeform 12">
              <a:extLst>
                <a:ext uri="{FF2B5EF4-FFF2-40B4-BE49-F238E27FC236}">
                  <a16:creationId xmlns:a16="http://schemas.microsoft.com/office/drawing/2014/main" id="{BC4A8CCB-0821-B09E-6DAC-8D7F77CF12C0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E466"/>
            </a:solidFill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17" name="TextBox 13">
              <a:extLst>
                <a:ext uri="{FF2B5EF4-FFF2-40B4-BE49-F238E27FC236}">
                  <a16:creationId xmlns:a16="http://schemas.microsoft.com/office/drawing/2014/main" id="{6753C2B8-344E-B3AE-2833-C5D99D383CE8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5</a:t>
              </a:r>
            </a:p>
          </p:txBody>
        </p:sp>
      </p:grpSp>
      <p:grpSp>
        <p:nvGrpSpPr>
          <p:cNvPr id="218" name="Group 14">
            <a:extLst>
              <a:ext uri="{FF2B5EF4-FFF2-40B4-BE49-F238E27FC236}">
                <a16:creationId xmlns:a16="http://schemas.microsoft.com/office/drawing/2014/main" id="{C2DD1892-BD67-575D-2A05-4CA6652BB7B0}"/>
              </a:ext>
            </a:extLst>
          </p:cNvPr>
          <p:cNvGrpSpPr/>
          <p:nvPr/>
        </p:nvGrpSpPr>
        <p:grpSpPr>
          <a:xfrm>
            <a:off x="4987181" y="3405353"/>
            <a:ext cx="1148187" cy="396737"/>
            <a:chOff x="0" y="0"/>
            <a:chExt cx="1441300" cy="498017"/>
          </a:xfrm>
        </p:grpSpPr>
        <p:sp>
          <p:nvSpPr>
            <p:cNvPr id="219" name="Freeform 15">
              <a:extLst>
                <a:ext uri="{FF2B5EF4-FFF2-40B4-BE49-F238E27FC236}">
                  <a16:creationId xmlns:a16="http://schemas.microsoft.com/office/drawing/2014/main" id="{5FDD6A54-AE3F-2C55-B13D-2E835679814A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252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20" name="TextBox 16">
              <a:extLst>
                <a:ext uri="{FF2B5EF4-FFF2-40B4-BE49-F238E27FC236}">
                  <a16:creationId xmlns:a16="http://schemas.microsoft.com/office/drawing/2014/main" id="{1F586EE0-B326-8A39-22F5-EB6243F95470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  <a:spcBef>
                  <a:spcPct val="0"/>
                </a:spcBef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6</a:t>
              </a:r>
            </a:p>
          </p:txBody>
        </p:sp>
      </p:grpSp>
      <p:grpSp>
        <p:nvGrpSpPr>
          <p:cNvPr id="221" name="Group 17">
            <a:extLst>
              <a:ext uri="{FF2B5EF4-FFF2-40B4-BE49-F238E27FC236}">
                <a16:creationId xmlns:a16="http://schemas.microsoft.com/office/drawing/2014/main" id="{1A060886-6959-BF37-A6FC-6518F1F8C7CF}"/>
              </a:ext>
            </a:extLst>
          </p:cNvPr>
          <p:cNvGrpSpPr/>
          <p:nvPr/>
        </p:nvGrpSpPr>
        <p:grpSpPr>
          <a:xfrm>
            <a:off x="6039024" y="3405353"/>
            <a:ext cx="1148187" cy="396737"/>
            <a:chOff x="0" y="0"/>
            <a:chExt cx="1441300" cy="498017"/>
          </a:xfrm>
        </p:grpSpPr>
        <p:sp>
          <p:nvSpPr>
            <p:cNvPr id="222" name="Freeform 18">
              <a:extLst>
                <a:ext uri="{FF2B5EF4-FFF2-40B4-BE49-F238E27FC236}">
                  <a16:creationId xmlns:a16="http://schemas.microsoft.com/office/drawing/2014/main" id="{E8BB2C26-12CF-6804-7647-4E27EB288224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308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23" name="TextBox 19">
              <a:extLst>
                <a:ext uri="{FF2B5EF4-FFF2-40B4-BE49-F238E27FC236}">
                  <a16:creationId xmlns:a16="http://schemas.microsoft.com/office/drawing/2014/main" id="{601C819B-022E-4F7B-5B9B-A496197D2BC3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  <a:spcBef>
                  <a:spcPct val="0"/>
                </a:spcBef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7</a:t>
              </a:r>
            </a:p>
          </p:txBody>
        </p:sp>
      </p:grpSp>
      <p:grpSp>
        <p:nvGrpSpPr>
          <p:cNvPr id="227" name="Group 23">
            <a:extLst>
              <a:ext uri="{FF2B5EF4-FFF2-40B4-BE49-F238E27FC236}">
                <a16:creationId xmlns:a16="http://schemas.microsoft.com/office/drawing/2014/main" id="{782E3C51-AFAA-167D-8388-A838A1DC8081}"/>
              </a:ext>
            </a:extLst>
          </p:cNvPr>
          <p:cNvGrpSpPr/>
          <p:nvPr/>
        </p:nvGrpSpPr>
        <p:grpSpPr>
          <a:xfrm>
            <a:off x="8099166" y="3405353"/>
            <a:ext cx="1148187" cy="396737"/>
            <a:chOff x="0" y="0"/>
            <a:chExt cx="1441300" cy="498017"/>
          </a:xfrm>
        </p:grpSpPr>
        <p:sp>
          <p:nvSpPr>
            <p:cNvPr id="228" name="Freeform 24">
              <a:extLst>
                <a:ext uri="{FF2B5EF4-FFF2-40B4-BE49-F238E27FC236}">
                  <a16:creationId xmlns:a16="http://schemas.microsoft.com/office/drawing/2014/main" id="{FE1BF94D-AA34-9610-D666-71ED4AF1D7C0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EC4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29" name="TextBox 25">
              <a:extLst>
                <a:ext uri="{FF2B5EF4-FFF2-40B4-BE49-F238E27FC236}">
                  <a16:creationId xmlns:a16="http://schemas.microsoft.com/office/drawing/2014/main" id="{EC991999-52FE-0F69-C24C-5B7F3A64C5FB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  <a:spcBef>
                  <a:spcPct val="0"/>
                </a:spcBef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10</a:t>
              </a:r>
            </a:p>
          </p:txBody>
        </p:sp>
      </p:grpSp>
      <p:sp>
        <p:nvSpPr>
          <p:cNvPr id="236" name="AutoShape 32">
            <a:extLst>
              <a:ext uri="{FF2B5EF4-FFF2-40B4-BE49-F238E27FC236}">
                <a16:creationId xmlns:a16="http://schemas.microsoft.com/office/drawing/2014/main" id="{037B7F8A-C806-32CC-37CC-18CD042E3E7D}"/>
              </a:ext>
            </a:extLst>
          </p:cNvPr>
          <p:cNvSpPr/>
          <p:nvPr/>
        </p:nvSpPr>
        <p:spPr>
          <a:xfrm flipH="1" flipV="1">
            <a:off x="1400655" y="2520845"/>
            <a:ext cx="0" cy="618521"/>
          </a:xfrm>
          <a:prstGeom prst="line">
            <a:avLst/>
          </a:prstGeom>
          <a:ln w="38100" cap="flat">
            <a:solidFill>
              <a:srgbClr val="818DAB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37" name="TextBox 33">
            <a:extLst>
              <a:ext uri="{FF2B5EF4-FFF2-40B4-BE49-F238E27FC236}">
                <a16:creationId xmlns:a16="http://schemas.microsoft.com/office/drawing/2014/main" id="{003B6447-A06E-391B-8DB6-5009D16CCB88}"/>
              </a:ext>
            </a:extLst>
          </p:cNvPr>
          <p:cNvSpPr txBox="1"/>
          <p:nvPr/>
        </p:nvSpPr>
        <p:spPr>
          <a:xfrm>
            <a:off x="185057" y="1048523"/>
            <a:ext cx="2083172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latin typeface="Montserrat" panose="00000500000000000000" pitchFamily="2" charset="0"/>
              </a:rPr>
              <a:t>Cirurgia corretiva cardíac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Intubação orotraqueal - ventilação mecânica invasiv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Sedação contínua 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latin typeface="Montserrat" panose="00000500000000000000" pitchFamily="2" charset="0"/>
              </a:rPr>
              <a:t>Inserção de cateter venoso central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Inserção de sonda vesical de demora</a:t>
            </a:r>
            <a:endParaRPr lang="pt-BR" sz="1000" noProof="0">
              <a:solidFill>
                <a:srgbClr val="000000"/>
              </a:solidFill>
              <a:latin typeface="Montserrat" panose="00000500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238" name="AutoShape 35">
            <a:extLst>
              <a:ext uri="{FF2B5EF4-FFF2-40B4-BE49-F238E27FC236}">
                <a16:creationId xmlns:a16="http://schemas.microsoft.com/office/drawing/2014/main" id="{70617FDD-02EF-31EF-56D1-7E2FD066F41D}"/>
              </a:ext>
            </a:extLst>
          </p:cNvPr>
          <p:cNvSpPr/>
          <p:nvPr/>
        </p:nvSpPr>
        <p:spPr>
          <a:xfrm flipH="1" flipV="1">
            <a:off x="3487717" y="2520845"/>
            <a:ext cx="0" cy="618521"/>
          </a:xfrm>
          <a:prstGeom prst="line">
            <a:avLst/>
          </a:prstGeom>
          <a:ln w="38100" cap="flat">
            <a:solidFill>
              <a:srgbClr val="00C2CB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39" name="TextBox 36">
            <a:extLst>
              <a:ext uri="{FF2B5EF4-FFF2-40B4-BE49-F238E27FC236}">
                <a16:creationId xmlns:a16="http://schemas.microsoft.com/office/drawing/2014/main" id="{F0EE0ED0-B8DB-EB7C-78E9-E8413797E1FA}"/>
              </a:ext>
            </a:extLst>
          </p:cNvPr>
          <p:cNvSpPr txBox="1"/>
          <p:nvPr/>
        </p:nvSpPr>
        <p:spPr>
          <a:xfrm>
            <a:off x="2662217" y="1201819"/>
            <a:ext cx="1651000" cy="10772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Sem drogas vasoativas há 24h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rogramação de redução de sedação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lanejamento de redução de parâmetros ventilatórios</a:t>
            </a:r>
          </a:p>
        </p:txBody>
      </p:sp>
      <p:sp>
        <p:nvSpPr>
          <p:cNvPr id="242" name="AutoShape 41">
            <a:extLst>
              <a:ext uri="{FF2B5EF4-FFF2-40B4-BE49-F238E27FC236}">
                <a16:creationId xmlns:a16="http://schemas.microsoft.com/office/drawing/2014/main" id="{99F3D2B5-6D5A-B4FE-37F5-7CEEDD39CB97}"/>
              </a:ext>
            </a:extLst>
          </p:cNvPr>
          <p:cNvSpPr/>
          <p:nvPr/>
        </p:nvSpPr>
        <p:spPr>
          <a:xfrm>
            <a:off x="8675459" y="3984737"/>
            <a:ext cx="0" cy="618521"/>
          </a:xfrm>
          <a:prstGeom prst="line">
            <a:avLst/>
          </a:prstGeom>
          <a:ln w="38100" cap="flat">
            <a:solidFill>
              <a:srgbClr val="E87B85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43" name="TextBox 42">
            <a:extLst>
              <a:ext uri="{FF2B5EF4-FFF2-40B4-BE49-F238E27FC236}">
                <a16:creationId xmlns:a16="http://schemas.microsoft.com/office/drawing/2014/main" id="{1BF42D5E-67D4-3804-A71C-DE8E0EB6A89D}"/>
              </a:ext>
            </a:extLst>
          </p:cNvPr>
          <p:cNvSpPr txBox="1"/>
          <p:nvPr/>
        </p:nvSpPr>
        <p:spPr>
          <a:xfrm>
            <a:off x="7926157" y="4925739"/>
            <a:ext cx="2709046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Aspirado traqueal: </a:t>
            </a:r>
            <a:r>
              <a:rPr lang="pt-BR" sz="1000" i="1" noProof="0" err="1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Klebsiella</a:t>
            </a:r>
            <a:r>
              <a:rPr lang="pt-BR" sz="1000" i="1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 </a:t>
            </a:r>
            <a:r>
              <a:rPr lang="pt-BR" sz="1000" i="1" noProof="0" err="1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neumoniae</a:t>
            </a: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 ESBL positiva 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Carga bacteriana &gt; 10⁶ UFC/</a:t>
            </a:r>
            <a:r>
              <a:rPr lang="pt-BR" sz="1000" noProof="0" err="1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mL</a:t>
            </a:r>
            <a:endParaRPr lang="pt-BR" sz="1000" noProof="0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algn="ctr">
              <a:lnSpc>
                <a:spcPts val="1224"/>
              </a:lnSpc>
            </a:pPr>
            <a:endParaRPr lang="pt-BR" sz="1000" noProof="0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Hemoculturas: negativas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Urocultura: negativa</a:t>
            </a:r>
          </a:p>
        </p:txBody>
      </p:sp>
      <p:sp>
        <p:nvSpPr>
          <p:cNvPr id="244" name="AutoShape 44">
            <a:extLst>
              <a:ext uri="{FF2B5EF4-FFF2-40B4-BE49-F238E27FC236}">
                <a16:creationId xmlns:a16="http://schemas.microsoft.com/office/drawing/2014/main" id="{F08E70CA-0C2B-61B8-B266-6347650CA92E}"/>
              </a:ext>
            </a:extLst>
          </p:cNvPr>
          <p:cNvSpPr/>
          <p:nvPr/>
        </p:nvSpPr>
        <p:spPr>
          <a:xfrm>
            <a:off x="6606767" y="3984737"/>
            <a:ext cx="0" cy="618521"/>
          </a:xfrm>
          <a:prstGeom prst="line">
            <a:avLst/>
          </a:prstGeom>
          <a:ln w="38100" cap="flat">
            <a:solidFill>
              <a:srgbClr val="E1B900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45" name="TextBox 45">
            <a:extLst>
              <a:ext uri="{FF2B5EF4-FFF2-40B4-BE49-F238E27FC236}">
                <a16:creationId xmlns:a16="http://schemas.microsoft.com/office/drawing/2014/main" id="{440D30E3-6BCC-41AB-3B8A-9EAC02B702C1}"/>
              </a:ext>
            </a:extLst>
          </p:cNvPr>
          <p:cNvSpPr txBox="1"/>
          <p:nvPr/>
        </p:nvSpPr>
        <p:spPr>
          <a:xfrm>
            <a:off x="5781267" y="4806960"/>
            <a:ext cx="1651000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latin typeface="Montserrat" panose="00000500000000000000" pitchFamily="2" charset="0"/>
              </a:rPr>
              <a:t>Hemograma: leucocitose com neutrofilia e desvio à esquerd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PCR: 6,8 mg/</a:t>
            </a:r>
            <a:r>
              <a:rPr lang="pt-BR" sz="1000" noProof="0" err="1">
                <a:latin typeface="Montserrat" panose="00000500000000000000" pitchFamily="2" charset="0"/>
              </a:rPr>
              <a:t>dL</a:t>
            </a:r>
            <a:r>
              <a:rPr lang="pt-BR" sz="1000" noProof="0">
                <a:latin typeface="Montserrat" panose="00000500000000000000" pitchFamily="2" charset="0"/>
              </a:rPr>
              <a:t> (anterior 2,8)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Urina tipo 1: normal</a:t>
            </a:r>
            <a:endParaRPr lang="pt-BR" sz="1000" noProof="0">
              <a:solidFill>
                <a:srgbClr val="000000"/>
              </a:solidFill>
              <a:latin typeface="Montserrat" panose="00000500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246" name="AutoShape 47">
            <a:extLst>
              <a:ext uri="{FF2B5EF4-FFF2-40B4-BE49-F238E27FC236}">
                <a16:creationId xmlns:a16="http://schemas.microsoft.com/office/drawing/2014/main" id="{8A19A459-95F6-2452-7855-DF0BA6E905F8}"/>
              </a:ext>
            </a:extLst>
          </p:cNvPr>
          <p:cNvSpPr/>
          <p:nvPr/>
        </p:nvSpPr>
        <p:spPr>
          <a:xfrm>
            <a:off x="4494530" y="3984737"/>
            <a:ext cx="0" cy="618521"/>
          </a:xfrm>
          <a:prstGeom prst="line">
            <a:avLst/>
          </a:prstGeom>
          <a:ln w="38100" cap="flat">
            <a:solidFill>
              <a:srgbClr val="70B812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47" name="TextBox 48">
            <a:extLst>
              <a:ext uri="{FF2B5EF4-FFF2-40B4-BE49-F238E27FC236}">
                <a16:creationId xmlns:a16="http://schemas.microsoft.com/office/drawing/2014/main" id="{0429D646-5933-5393-0551-C96E0B102DF1}"/>
              </a:ext>
            </a:extLst>
          </p:cNvPr>
          <p:cNvSpPr txBox="1"/>
          <p:nvPr/>
        </p:nvSpPr>
        <p:spPr>
          <a:xfrm>
            <a:off x="3669030" y="4987145"/>
            <a:ext cx="165100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latin typeface="Montserrat" panose="00000500000000000000" pitchFamily="2" charset="0"/>
              </a:rPr>
              <a:t>Febre (38,5°C)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Taquicardi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Taquidispnei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Estertores predominando em pulmão direito</a:t>
            </a:r>
            <a:endParaRPr lang="pt-BR" sz="1000" noProof="0">
              <a:solidFill>
                <a:srgbClr val="000000"/>
              </a:solidFill>
              <a:latin typeface="Montserrat" panose="00000500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248" name="AutoShape 50">
            <a:extLst>
              <a:ext uri="{FF2B5EF4-FFF2-40B4-BE49-F238E27FC236}">
                <a16:creationId xmlns:a16="http://schemas.microsoft.com/office/drawing/2014/main" id="{758290AC-45B7-3DFA-1B90-F81EB199FEB5}"/>
              </a:ext>
            </a:extLst>
          </p:cNvPr>
          <p:cNvSpPr/>
          <p:nvPr/>
        </p:nvSpPr>
        <p:spPr>
          <a:xfrm>
            <a:off x="2382293" y="3984737"/>
            <a:ext cx="0" cy="618521"/>
          </a:xfrm>
          <a:prstGeom prst="line">
            <a:avLst/>
          </a:prstGeom>
          <a:ln w="38100" cap="flat">
            <a:solidFill>
              <a:srgbClr val="521DF1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49" name="TextBox 51">
            <a:extLst>
              <a:ext uri="{FF2B5EF4-FFF2-40B4-BE49-F238E27FC236}">
                <a16:creationId xmlns:a16="http://schemas.microsoft.com/office/drawing/2014/main" id="{58B66CC8-8FDC-B7C6-6E1C-C38A4FF53043}"/>
              </a:ext>
            </a:extLst>
          </p:cNvPr>
          <p:cNvSpPr txBox="1"/>
          <p:nvPr/>
        </p:nvSpPr>
        <p:spPr>
          <a:xfrm>
            <a:off x="1556793" y="5023712"/>
            <a:ext cx="165100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Mantido em ventilação mecânica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Suporte intensivo</a:t>
            </a:r>
          </a:p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Evolução clínica progressivamente estável</a:t>
            </a:r>
          </a:p>
        </p:txBody>
      </p:sp>
      <p:sp>
        <p:nvSpPr>
          <p:cNvPr id="250" name="AutoShape 53">
            <a:extLst>
              <a:ext uri="{FF2B5EF4-FFF2-40B4-BE49-F238E27FC236}">
                <a16:creationId xmlns:a16="http://schemas.microsoft.com/office/drawing/2014/main" id="{D794C24A-23AA-4747-EF7E-8651A4A0E8C1}"/>
              </a:ext>
            </a:extLst>
          </p:cNvPr>
          <p:cNvSpPr/>
          <p:nvPr/>
        </p:nvSpPr>
        <p:spPr>
          <a:xfrm flipH="1" flipV="1">
            <a:off x="5574780" y="2520845"/>
            <a:ext cx="0" cy="618521"/>
          </a:xfrm>
          <a:prstGeom prst="line">
            <a:avLst/>
          </a:prstGeom>
          <a:ln w="38100" cap="flat">
            <a:solidFill>
              <a:srgbClr val="C4BD19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51" name="TextBox 54">
            <a:extLst>
              <a:ext uri="{FF2B5EF4-FFF2-40B4-BE49-F238E27FC236}">
                <a16:creationId xmlns:a16="http://schemas.microsoft.com/office/drawing/2014/main" id="{42C67A9A-7FE9-E8E8-1590-0E6D597FBCC4}"/>
              </a:ext>
            </a:extLst>
          </p:cNvPr>
          <p:cNvSpPr txBox="1"/>
          <p:nvPr/>
        </p:nvSpPr>
        <p:spPr>
          <a:xfrm>
            <a:off x="4665133" y="1375994"/>
            <a:ext cx="1819295" cy="10772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latin typeface="Montserrat" panose="00000500000000000000" pitchFamily="2" charset="0"/>
              </a:rPr>
              <a:t>Aumento da secreção traqueal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Secreção purulenta e espessa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latin typeface="Montserrat" panose="00000500000000000000" pitchFamily="2" charset="0"/>
              </a:rPr>
              <a:t>Necessidade de aumento de </a:t>
            </a:r>
            <a:r>
              <a:rPr lang="pt-BR" sz="1000" noProof="0" err="1">
                <a:latin typeface="Montserrat" panose="00000500000000000000" pitchFamily="2" charset="0"/>
              </a:rPr>
              <a:t>FiO</a:t>
            </a:r>
            <a:r>
              <a:rPr lang="pt-BR" sz="1000" noProof="0">
                <a:latin typeface="Montserrat" panose="00000500000000000000" pitchFamily="2" charset="0"/>
              </a:rPr>
              <a:t>₂</a:t>
            </a:r>
            <a:br>
              <a:rPr lang="pt-BR" sz="1000" noProof="0">
                <a:latin typeface="Montserrat" panose="00000500000000000000" pitchFamily="2" charset="0"/>
              </a:rPr>
            </a:b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</a:t>
            </a:r>
          </a:p>
        </p:txBody>
      </p:sp>
      <p:sp>
        <p:nvSpPr>
          <p:cNvPr id="254" name="TextBox 57">
            <a:extLst>
              <a:ext uri="{FF2B5EF4-FFF2-40B4-BE49-F238E27FC236}">
                <a16:creationId xmlns:a16="http://schemas.microsoft.com/office/drawing/2014/main" id="{00A68293-F0D4-AD39-46AD-54689BFE63C8}"/>
              </a:ext>
            </a:extLst>
          </p:cNvPr>
          <p:cNvSpPr txBox="1"/>
          <p:nvPr/>
        </p:nvSpPr>
        <p:spPr>
          <a:xfrm>
            <a:off x="6836343" y="1582818"/>
            <a:ext cx="1651000" cy="9233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24"/>
              </a:lnSpc>
            </a:pP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RX de tórax: novo infiltrado alveolar em base direita</a:t>
            </a:r>
            <a:b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Gasometria: piora da relação </a:t>
            </a:r>
            <a:r>
              <a:rPr lang="pt-BR" sz="1000" noProof="0" err="1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aO</a:t>
            </a: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₂/</a:t>
            </a:r>
            <a:r>
              <a:rPr lang="pt-BR" sz="1000" noProof="0" err="1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FiO</a:t>
            </a:r>
            <a: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₂</a:t>
            </a:r>
            <a:br>
              <a:rPr lang="pt-BR" sz="1000" noProof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endParaRPr lang="pt-BR" sz="1000" noProof="0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57" name="TextBox 62">
            <a:extLst>
              <a:ext uri="{FF2B5EF4-FFF2-40B4-BE49-F238E27FC236}">
                <a16:creationId xmlns:a16="http://schemas.microsoft.com/office/drawing/2014/main" id="{EC5F2B84-4F20-D6FD-4EB3-F5A6EDAF56E7}"/>
              </a:ext>
            </a:extLst>
          </p:cNvPr>
          <p:cNvSpPr txBox="1"/>
          <p:nvPr/>
        </p:nvSpPr>
        <p:spPr>
          <a:xfrm>
            <a:off x="3319537" y="306419"/>
            <a:ext cx="5592823" cy="5241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69"/>
              </a:lnSpc>
              <a:spcBef>
                <a:spcPct val="0"/>
              </a:spcBef>
            </a:pPr>
            <a:r>
              <a:rPr lang="pt-BR" sz="2800" b="1" noProof="0">
                <a:solidFill>
                  <a:srgbClr val="000000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PAV</a:t>
            </a:r>
          </a:p>
        </p:txBody>
      </p:sp>
      <p:sp>
        <p:nvSpPr>
          <p:cNvPr id="258" name="TextBox 49">
            <a:extLst>
              <a:ext uri="{FF2B5EF4-FFF2-40B4-BE49-F238E27FC236}">
                <a16:creationId xmlns:a16="http://schemas.microsoft.com/office/drawing/2014/main" id="{8B640EA0-3B3C-AAAC-316F-596B16154A4C}"/>
              </a:ext>
            </a:extLst>
          </p:cNvPr>
          <p:cNvSpPr txBox="1"/>
          <p:nvPr/>
        </p:nvSpPr>
        <p:spPr>
          <a:xfrm>
            <a:off x="3966075" y="2980393"/>
            <a:ext cx="1130347" cy="2688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ctr">
              <a:lnSpc>
                <a:spcPts val="2447"/>
              </a:lnSpc>
            </a:pPr>
            <a:r>
              <a:rPr lang="pt-BR" sz="1200" b="1" noProof="0">
                <a:solidFill>
                  <a:srgbClr val="5C9B0A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Piora clínica </a:t>
            </a:r>
          </a:p>
        </p:txBody>
      </p:sp>
      <p:grpSp>
        <p:nvGrpSpPr>
          <p:cNvPr id="259" name="Group 17">
            <a:extLst>
              <a:ext uri="{FF2B5EF4-FFF2-40B4-BE49-F238E27FC236}">
                <a16:creationId xmlns:a16="http://schemas.microsoft.com/office/drawing/2014/main" id="{FC78F67C-7EAA-F361-478A-3CEA5FBF6AA2}"/>
              </a:ext>
            </a:extLst>
          </p:cNvPr>
          <p:cNvGrpSpPr/>
          <p:nvPr/>
        </p:nvGrpSpPr>
        <p:grpSpPr>
          <a:xfrm>
            <a:off x="7062289" y="3416235"/>
            <a:ext cx="1148187" cy="396737"/>
            <a:chOff x="0" y="0"/>
            <a:chExt cx="1441300" cy="498017"/>
          </a:xfrm>
        </p:grpSpPr>
        <p:sp>
          <p:nvSpPr>
            <p:cNvPr id="260" name="Freeform 18">
              <a:extLst>
                <a:ext uri="{FF2B5EF4-FFF2-40B4-BE49-F238E27FC236}">
                  <a16:creationId xmlns:a16="http://schemas.microsoft.com/office/drawing/2014/main" id="{FAE85D83-EEEF-19E9-A193-708A03D8B3CA}"/>
                </a:ext>
              </a:extLst>
            </p:cNvPr>
            <p:cNvSpPr/>
            <p:nvPr/>
          </p:nvSpPr>
          <p:spPr>
            <a:xfrm>
              <a:off x="0" y="0"/>
              <a:ext cx="1441300" cy="498017"/>
            </a:xfrm>
            <a:custGeom>
              <a:avLst/>
              <a:gdLst/>
              <a:ahLst/>
              <a:cxnLst/>
              <a:rect l="l" t="t" r="r" b="b"/>
              <a:pathLst>
                <a:path w="1441300" h="498017">
                  <a:moveTo>
                    <a:pt x="0" y="0"/>
                  </a:moveTo>
                  <a:lnTo>
                    <a:pt x="1238100" y="0"/>
                  </a:lnTo>
                  <a:lnTo>
                    <a:pt x="1441300" y="249008"/>
                  </a:lnTo>
                  <a:lnTo>
                    <a:pt x="1238100" y="498017"/>
                  </a:lnTo>
                  <a:lnTo>
                    <a:pt x="0" y="498017"/>
                  </a:lnTo>
                  <a:lnTo>
                    <a:pt x="203200" y="2490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308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pt-BR" sz="1200" noProof="0"/>
            </a:p>
          </p:txBody>
        </p:sp>
        <p:sp>
          <p:nvSpPr>
            <p:cNvPr id="261" name="TextBox 19">
              <a:extLst>
                <a:ext uri="{FF2B5EF4-FFF2-40B4-BE49-F238E27FC236}">
                  <a16:creationId xmlns:a16="http://schemas.microsoft.com/office/drawing/2014/main" id="{116E46DC-7D45-EACA-C24F-9754E2B57E0A}"/>
                </a:ext>
              </a:extLst>
            </p:cNvPr>
            <p:cNvSpPr txBox="1"/>
            <p:nvPr/>
          </p:nvSpPr>
          <p:spPr>
            <a:xfrm>
              <a:off x="177800" y="-28575"/>
              <a:ext cx="1187300" cy="52659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493"/>
                </a:lnSpc>
                <a:spcBef>
                  <a:spcPct val="0"/>
                </a:spcBef>
              </a:pPr>
              <a:r>
                <a:rPr lang="pt-BR" sz="1066" b="1" noProof="0">
                  <a:solidFill>
                    <a:srgbClr val="000000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Dia 7</a:t>
              </a:r>
            </a:p>
          </p:txBody>
        </p:sp>
      </p:grpSp>
      <p:sp>
        <p:nvSpPr>
          <p:cNvPr id="263" name="AutoShape 44">
            <a:extLst>
              <a:ext uri="{FF2B5EF4-FFF2-40B4-BE49-F238E27FC236}">
                <a16:creationId xmlns:a16="http://schemas.microsoft.com/office/drawing/2014/main" id="{6D2C5D68-F6EA-E9AB-5262-27496D1ABE5B}"/>
              </a:ext>
            </a:extLst>
          </p:cNvPr>
          <p:cNvSpPr/>
          <p:nvPr/>
        </p:nvSpPr>
        <p:spPr>
          <a:xfrm flipH="1" flipV="1">
            <a:off x="7661841" y="2528485"/>
            <a:ext cx="1" cy="618521"/>
          </a:xfrm>
          <a:prstGeom prst="line">
            <a:avLst/>
          </a:prstGeom>
          <a:ln w="38100" cap="flat">
            <a:solidFill>
              <a:srgbClr val="E1B900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pt-BR" sz="1200" noProof="0"/>
          </a:p>
        </p:txBody>
      </p:sp>
      <p:sp>
        <p:nvSpPr>
          <p:cNvPr id="264" name="CaixaDeTexto 263">
            <a:extLst>
              <a:ext uri="{FF2B5EF4-FFF2-40B4-BE49-F238E27FC236}">
                <a16:creationId xmlns:a16="http://schemas.microsoft.com/office/drawing/2014/main" id="{581C1F03-9BA1-53B6-B9BD-015427D31E62}"/>
              </a:ext>
            </a:extLst>
          </p:cNvPr>
          <p:cNvSpPr txBox="1"/>
          <p:nvPr/>
        </p:nvSpPr>
        <p:spPr>
          <a:xfrm>
            <a:off x="9689943" y="360065"/>
            <a:ext cx="2432723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sz="1600"/>
              <a:t>Lactente, 4 meses</a:t>
            </a:r>
            <a:br>
              <a:rPr lang="pt-BR" sz="1600"/>
            </a:br>
            <a:r>
              <a:rPr lang="pt-BR" sz="1600"/>
              <a:t>Cardiopatia congênita – Tetralogia de </a:t>
            </a:r>
            <a:r>
              <a:rPr lang="pt-BR" sz="1600" err="1"/>
              <a:t>Fallot</a:t>
            </a:r>
            <a:endParaRPr lang="pt-BR" sz="1600"/>
          </a:p>
        </p:txBody>
      </p:sp>
    </p:spTree>
    <p:extLst>
      <p:ext uri="{BB962C8B-B14F-4D97-AF65-F5344CB8AC3E}">
        <p14:creationId xmlns:p14="http://schemas.microsoft.com/office/powerpoint/2010/main" val="23209676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11575" y="687608"/>
            <a:ext cx="10058400" cy="631231"/>
          </a:xfrm>
        </p:spPr>
        <p:txBody>
          <a:bodyPr>
            <a:normAutofit/>
          </a:bodyPr>
          <a:lstStyle/>
          <a:p>
            <a:r>
              <a:rPr lang="pt-BR" sz="3600" b="1">
                <a:solidFill>
                  <a:srgbClr val="3299B1"/>
                </a:solidFill>
                <a:latin typeface="Agency FB" panose="020B0503020202020204" pitchFamily="34" charset="0"/>
              </a:rPr>
              <a:t>Caso 3 - NEONAT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636A108-B6A8-4241-8AF2-269D22F75D8B}"/>
              </a:ext>
            </a:extLst>
          </p:cNvPr>
          <p:cNvSpPr txBox="1"/>
          <p:nvPr/>
        </p:nvSpPr>
        <p:spPr>
          <a:xfrm>
            <a:off x="641554" y="1597839"/>
            <a:ext cx="11380840" cy="2708434"/>
          </a:xfrm>
          <a:prstGeom prst="rect">
            <a:avLst/>
          </a:prstGeom>
          <a:noFill/>
        </p:spPr>
        <p:txBody>
          <a:bodyPr wrap="square" lIns="91440" tIns="45720" rIns="91440" bIns="45720" numCol="1" anchor="t">
            <a:spAutoFit/>
          </a:bodyPr>
          <a:lstStyle/>
          <a:p>
            <a:pPr algn="just">
              <a:spcAft>
                <a:spcPts val="1200"/>
              </a:spcAft>
              <a:defRPr/>
            </a:pPr>
            <a:endParaRPr lang="pt-BR" sz="2000">
              <a:solidFill>
                <a:schemeClr val="tx2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srgbClr val="455560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076" name="Picture 4" descr="Gifs de alerta - Gifs e Imagens Animadas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589" y="2352128"/>
            <a:ext cx="5665837" cy="318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30764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06F8E-8455-651D-561B-CC862ADA3A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45B923B-629E-DF6E-00BC-5946A87AE6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5B923B-629E-DF6E-00BC-5946A87AE6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264604E2-8B60-1236-D329-C0D8356C3EEA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18BFA8-0121-CA44-765A-C13CFE47CD84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6A08A5D-F30E-3F88-87CB-1EDFF21A8BCF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BD9CD77-452B-D4F5-3A89-16092644F229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CF1631-5162-BCCF-5C75-E3549B043CBB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1AF8E94-FB3C-7ABB-58F3-1E990636A736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0D7489D-8C7F-53AE-7F3D-A9FE9570B37E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2A1AF45-A209-C783-5570-782CD94A093F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CA04F69-3F45-CCFC-2735-ED51E1F0092D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612A8C7-480B-1F6A-E6F2-C3FDBB55B0C3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FF5468-B9F9-84EE-C2EF-0A3C62E10AA0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A72BFBF-DA33-A541-E599-8D6D4278D27F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7A50AD-493A-C221-68A2-E3D02846636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AE279F5-9ED9-B823-CC3E-C7877DD22432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2BB1FF-44F9-1F6D-1224-BED466C42DB2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293684B-1DDB-9439-23B4-ADADAEC12549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782FCF2-9D4B-70A0-99B5-F860ED6391ED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8C5DD64-91DE-28DE-E3F4-C5E561F9BA70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EB9635C-26BE-6E9E-4A7F-2CABBFDE4A86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0147646-78AD-9E65-8FF1-7DFDFD22A9A9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A55803-B5B6-3980-F9F3-37F44BCD24AB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6C2781B-F394-0844-A429-38AA12A37251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B55CFFC-53D3-EA19-BAF0-20C0A7EB8C64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EAEBBCC-19D9-6561-BB30-2D9F651338CD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BD941B8-73C4-8AE6-8E1B-48B831500EDB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7D6521C-167A-F843-6D7C-26F29D9157B1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685A22B-F19A-22DA-A80B-59BDC8D2E9A2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62CC9CC-4E32-D13A-29EA-E2F534C5A606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F4E4E41-274B-7662-5671-686236838BC0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44BC6D0-4D9C-E4C8-63AF-5F1F4B99FD08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160D7F9-5882-A690-D773-8CF446C86255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33390DE-4B7A-8653-96AA-1AEC0BF5F772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3162146-A426-CD83-6508-6C17D9FAAD2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144E561-79A3-E839-E8B6-31FAB2E38A1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6B4479C-21F5-AC47-6223-1FF52CFAE754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68A8F2C-1AC1-15E2-0689-FB9ECA8AA825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15B5291-6AF3-04B2-40BE-D80D2572DE19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312421D1-F764-FF16-F49A-9301B48C824E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7887A3F-8CAF-887E-E6D8-D1587A199C30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EF6801B-CCC4-12DB-41CB-95930114EA1A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9C64C8-14BE-B66C-2216-79A19C3B41ED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0CE6475-5ED2-3754-04D9-3675484061C0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159679F-47F0-AB59-2886-D60BDC0117D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B5BD968-00D7-3BF5-0180-490132E70574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E2541245-3FA2-E6C2-5AD8-633FFCB2A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D9C30DE-5E5C-26FD-2CCC-825F433357E4}"/>
              </a:ext>
            </a:extLst>
          </p:cNvPr>
          <p:cNvSpPr txBox="1"/>
          <p:nvPr/>
        </p:nvSpPr>
        <p:spPr>
          <a:xfrm>
            <a:off x="2519500" y="361172"/>
            <a:ext cx="3542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CASO 3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59D23BD5-6AC2-EC1E-FB98-CF20A48FB949}"/>
              </a:ext>
            </a:extLst>
          </p:cNvPr>
          <p:cNvGrpSpPr/>
          <p:nvPr/>
        </p:nvGrpSpPr>
        <p:grpSpPr>
          <a:xfrm>
            <a:off x="562068" y="1297313"/>
            <a:ext cx="4044962" cy="4515011"/>
            <a:chOff x="365331" y="1523999"/>
            <a:chExt cx="4125687" cy="4093029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23A9BCB8-6B92-7780-1979-AE41E0B0EFAB}"/>
                </a:ext>
              </a:extLst>
            </p:cNvPr>
            <p:cNvSpPr/>
            <p:nvPr/>
          </p:nvSpPr>
          <p:spPr>
            <a:xfrm>
              <a:off x="365331" y="1523999"/>
              <a:ext cx="4125687" cy="4093029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8EC6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2D43B91-C456-48B7-187A-EB9B7EA837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52793" r="55407" b="44992"/>
            <a:stretch/>
          </p:blipFill>
          <p:spPr>
            <a:xfrm>
              <a:off x="1884255" y="3703957"/>
              <a:ext cx="1104899" cy="167082"/>
            </a:xfrm>
            <a:prstGeom prst="rect">
              <a:avLst/>
            </a:prstGeom>
          </p:spPr>
        </p:pic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453E802C-7236-8D79-7C7E-493E7C6116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355" t="41444" r="55407" b="49302"/>
            <a:stretch/>
          </p:blipFill>
          <p:spPr>
            <a:xfrm>
              <a:off x="1841074" y="2835795"/>
              <a:ext cx="1104899" cy="698138"/>
            </a:xfrm>
            <a:prstGeom prst="rect">
              <a:avLst/>
            </a:prstGeom>
          </p:spPr>
        </p:pic>
      </p:grpSp>
      <p:pic>
        <p:nvPicPr>
          <p:cNvPr id="1026" name="Picture 2" descr="Rosto De Bebé Desenho Animado Ilustração do Vetor ...">
            <a:extLst>
              <a:ext uri="{FF2B5EF4-FFF2-40B4-BE49-F238E27FC236}">
                <a16:creationId xmlns:a16="http://schemas.microsoft.com/office/drawing/2014/main" id="{8A2884F4-4FC5-8900-1AEE-7E87F1340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12" r="40724"/>
          <a:stretch/>
        </p:blipFill>
        <p:spPr bwMode="auto">
          <a:xfrm>
            <a:off x="1942298" y="1407710"/>
            <a:ext cx="1216555" cy="1171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7" name="CaixaDeTexto 1026">
            <a:extLst>
              <a:ext uri="{FF2B5EF4-FFF2-40B4-BE49-F238E27FC236}">
                <a16:creationId xmlns:a16="http://schemas.microsoft.com/office/drawing/2014/main" id="{D6508687-FE8E-AC76-E762-C54C2835AC10}"/>
              </a:ext>
            </a:extLst>
          </p:cNvPr>
          <p:cNvSpPr txBox="1"/>
          <p:nvPr/>
        </p:nvSpPr>
        <p:spPr>
          <a:xfrm>
            <a:off x="347509" y="4081054"/>
            <a:ext cx="434697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RN 10 dias de vida</a:t>
            </a:r>
          </a:p>
          <a:p>
            <a:pPr algn="ctr"/>
            <a:endParaRPr lang="pt-BR" b="1" dirty="0"/>
          </a:p>
          <a:p>
            <a:pPr algn="ctr"/>
            <a:r>
              <a:rPr lang="pt-BR" b="1" dirty="0"/>
              <a:t>Prematuro extremo (28 semanas)</a:t>
            </a:r>
          </a:p>
          <a:p>
            <a:pPr algn="ctr"/>
            <a:r>
              <a:rPr lang="pt-BR" b="1" dirty="0"/>
              <a:t>Bolsa rota de 4 dias </a:t>
            </a:r>
          </a:p>
          <a:p>
            <a:pPr algn="ctr"/>
            <a:endParaRPr lang="pt-BR" b="1" dirty="0"/>
          </a:p>
          <a:p>
            <a:pPr algn="ctr"/>
            <a:r>
              <a:rPr lang="pt-BR" b="1" dirty="0"/>
              <a:t>Peso ao nascer: 930 g</a:t>
            </a:r>
          </a:p>
        </p:txBody>
      </p:sp>
      <p:sp>
        <p:nvSpPr>
          <p:cNvPr id="1028" name="Seta: para Baixo 1027">
            <a:extLst>
              <a:ext uri="{FF2B5EF4-FFF2-40B4-BE49-F238E27FC236}">
                <a16:creationId xmlns:a16="http://schemas.microsoft.com/office/drawing/2014/main" id="{38B79205-91E8-FFA2-29E0-4A8B5BCCB889}"/>
              </a:ext>
            </a:extLst>
          </p:cNvPr>
          <p:cNvSpPr/>
          <p:nvPr/>
        </p:nvSpPr>
        <p:spPr>
          <a:xfrm>
            <a:off x="8478842" y="250268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029" name="CaixaDeTexto 1028">
            <a:extLst>
              <a:ext uri="{FF2B5EF4-FFF2-40B4-BE49-F238E27FC236}">
                <a16:creationId xmlns:a16="http://schemas.microsoft.com/office/drawing/2014/main" id="{43A7B440-70EF-1B2C-0B80-1B0673A0A44F}"/>
              </a:ext>
            </a:extLst>
          </p:cNvPr>
          <p:cNvSpPr txBox="1"/>
          <p:nvPr/>
        </p:nvSpPr>
        <p:spPr>
          <a:xfrm>
            <a:off x="6152422" y="1254054"/>
            <a:ext cx="5269765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000" noProof="0"/>
              <a:t>Internado em UTI Neonatal desde o nascimento devido a desconforto respiratório e prematuridad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000" noProof="0"/>
          </a:p>
        </p:txBody>
      </p:sp>
      <p:sp>
        <p:nvSpPr>
          <p:cNvPr id="1030" name="CaixaDeTexto 1029">
            <a:extLst>
              <a:ext uri="{FF2B5EF4-FFF2-40B4-BE49-F238E27FC236}">
                <a16:creationId xmlns:a16="http://schemas.microsoft.com/office/drawing/2014/main" id="{748508E0-95A1-E37D-6C84-F8FA7FE4E43C}"/>
              </a:ext>
            </a:extLst>
          </p:cNvPr>
          <p:cNvSpPr txBox="1"/>
          <p:nvPr/>
        </p:nvSpPr>
        <p:spPr>
          <a:xfrm>
            <a:off x="5444788" y="3129409"/>
            <a:ext cx="652530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000" noProof="0" dirty="0"/>
          </a:p>
          <a:p>
            <a:pPr lvl="0" algn="ctr"/>
            <a:r>
              <a:rPr lang="pt-BR" sz="2000" noProof="0" dirty="0"/>
              <a:t>Em ventilação mecânica invasiva desde o nascimento</a:t>
            </a:r>
          </a:p>
          <a:p>
            <a:pPr algn="ctr"/>
            <a:r>
              <a:rPr lang="pt-BR" sz="2000" noProof="0" dirty="0"/>
              <a:t> </a:t>
            </a:r>
          </a:p>
          <a:p>
            <a:pPr lvl="0" algn="ctr"/>
            <a:r>
              <a:rPr lang="pt-BR" sz="2000" noProof="0" dirty="0"/>
              <a:t>Em uso de PICC desde o 3º dia de vida em uso de ampicilina </a:t>
            </a:r>
            <a:r>
              <a:rPr lang="pt-BR" sz="2000" noProof="0"/>
              <a:t>e gentamicina</a:t>
            </a:r>
          </a:p>
        </p:txBody>
      </p:sp>
      <p:sp>
        <p:nvSpPr>
          <p:cNvPr id="1032" name="Seta: para Baixo 1031">
            <a:extLst>
              <a:ext uri="{FF2B5EF4-FFF2-40B4-BE49-F238E27FC236}">
                <a16:creationId xmlns:a16="http://schemas.microsoft.com/office/drawing/2014/main" id="{8B32FE05-29E8-F58D-297A-8DDDE85204DD}"/>
              </a:ext>
            </a:extLst>
          </p:cNvPr>
          <p:cNvSpPr/>
          <p:nvPr/>
        </p:nvSpPr>
        <p:spPr>
          <a:xfrm rot="16200000">
            <a:off x="4944979" y="1697657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033" name="Seta: para Baixo 1032">
            <a:extLst>
              <a:ext uri="{FF2B5EF4-FFF2-40B4-BE49-F238E27FC236}">
                <a16:creationId xmlns:a16="http://schemas.microsoft.com/office/drawing/2014/main" id="{F3BDA2E6-E640-0974-C137-E32027AFC048}"/>
              </a:ext>
            </a:extLst>
          </p:cNvPr>
          <p:cNvSpPr/>
          <p:nvPr/>
        </p:nvSpPr>
        <p:spPr>
          <a:xfrm rot="16200000">
            <a:off x="10922378" y="5957735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2569911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 animBg="1"/>
      <p:bldP spid="1029" grpId="0"/>
      <p:bldP spid="1030" grpId="0"/>
      <p:bldP spid="1032" grpId="0" animBg="1"/>
      <p:bldP spid="103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F031C2-8259-587B-75AA-BDD94BF549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D9732D73-2DF1-F40F-096A-361FE2537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7C1BFF3-C9B0-8881-2124-86D371EE88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C1BFF3-C9B0-8881-2124-86D371EE8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0BD09985-573E-81F4-5F9B-4C4F9333E953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FE4B7A0-D445-3A7F-3BE2-DD6B34A96894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9C53666-CFE2-D539-E359-9B8C35B1BB3E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43FF586-DE38-72BB-E718-0C747CB6CA56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A70D4A1-5F21-6281-1CEB-473CBCBCE9A0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A90B286-4634-0B56-18B4-433A3AD1FE4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E944E5A-D4C3-79D3-78DD-3422C3B969A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1F6B20-F368-51BF-E00E-9FD83540BEEA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EB066AE-7378-BB3C-30B0-D3FACCC71027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C8BA315-A7B1-2392-541D-ECBD4839660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0FF5B27-8A29-9834-7054-D1467DF6C195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1E12452-7B5A-C6E3-E834-29E0ACC96A81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B8E832D-FDA6-F5EC-CAD8-89AD7919D10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FD9D192-CE7D-907C-505A-F0F601FCE727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C94C7F0-A8EE-127F-DF65-3EB834571CE1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0897758-2BB7-47BC-BF3E-E60AED82C4A5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EB91A44-FBC9-544C-B491-BBA5FF696F35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C80625-2C5F-5762-6B9F-0E8AC9391465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F957955-3288-56BB-E786-CF4FC3648A38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6F4C5C8-A922-CE2B-D9EF-920581DBBA2D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89676E5-3F2B-2D96-B6AE-0E772230A86C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5BC83BB-FAD8-57C8-476E-A52DC8900F00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DDB6627-28DD-D9E6-FDB2-86606DE9EDA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604370F-55F0-B4FF-1A19-02E4B41CDCD6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37CE5AF-F635-E03A-CB50-75BB8341FEB3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3D9427D-6CA6-7491-71DC-58D51944A9C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49E6C8-AF59-8945-A74C-0C382A562FA7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45C377B-E0F5-37AD-7BD7-FF604FB79E5A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B55B840-C90B-41C1-2859-D5387A16D39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D8094BF-F3C6-F7E0-64A2-2A18A3DF2F97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05C86C0-0CA1-CE41-9020-76FDD54BADF9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5249F22-C781-399F-CC27-9D755BF6749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8CBFD18-899E-2BD3-EFE1-D9D19D95ED89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0194CF-C43C-AA6F-FC7C-D968781EC65D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5B22547-9514-528A-32E6-494C2F536D5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1DC3CC8-4A2A-59BA-A800-369A6A1F8C3C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DC70D17-F106-7681-511F-A96B58BDA614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A470D7C-0FF2-E661-25DF-899EA5D64D2A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011E014-70AF-26D6-38DE-C33BF07689AA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DCA424C-829C-50AA-1F40-702BF56D5050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4E7D477-6A91-1E76-8942-A9278E7675EC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83A99C9-557D-F6AB-03D0-73BE32FEF1DD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6454950-869C-ED6D-324B-CCA261FD1675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6F2BF7B-09AD-B64F-E4DF-D46BAE394E17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08F071FC-874C-6AB9-408B-CDE993C16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548D17E-3262-D19E-AB7F-C62DB90B4FF6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1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2505523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29334-2413-BA2C-0319-8F91D1189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Retângulo 1040">
            <a:extLst>
              <a:ext uri="{FF2B5EF4-FFF2-40B4-BE49-F238E27FC236}">
                <a16:creationId xmlns:a16="http://schemas.microsoft.com/office/drawing/2014/main" id="{20638EDA-D4BD-E0D0-D373-4DEA76A57F2D}"/>
              </a:ext>
            </a:extLst>
          </p:cNvPr>
          <p:cNvSpPr/>
          <p:nvPr/>
        </p:nvSpPr>
        <p:spPr>
          <a:xfrm>
            <a:off x="0" y="1163740"/>
            <a:ext cx="12183195" cy="4958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F8159ED-A0C9-B5C8-E9DC-210E9FA08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DC7D5-9C7F-C396-CFDF-DE68C3C4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>
            <a:extLst>
              <a:ext uri="{FF2B5EF4-FFF2-40B4-BE49-F238E27FC236}">
                <a16:creationId xmlns:a16="http://schemas.microsoft.com/office/drawing/2014/main" id="{7FADA7AE-CC51-7084-5397-0929FF982BBB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4" name="Freeform: Shape 13">
              <a:extLst>
                <a:ext uri="{FF2B5EF4-FFF2-40B4-BE49-F238E27FC236}">
                  <a16:creationId xmlns:a16="http://schemas.microsoft.com/office/drawing/2014/main" id="{2F135BFA-79F5-2D78-A5B5-A1738550AAF5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6">
              <a:extLst>
                <a:ext uri="{FF2B5EF4-FFF2-40B4-BE49-F238E27FC236}">
                  <a16:creationId xmlns:a16="http://schemas.microsoft.com/office/drawing/2014/main" id="{156B4FBC-27B5-B787-07B6-975BBC903616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17">
              <a:extLst>
                <a:ext uri="{FF2B5EF4-FFF2-40B4-BE49-F238E27FC236}">
                  <a16:creationId xmlns:a16="http://schemas.microsoft.com/office/drawing/2014/main" id="{1B131C0A-8885-AF55-930E-229F30099860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18">
              <a:extLst>
                <a:ext uri="{FF2B5EF4-FFF2-40B4-BE49-F238E27FC236}">
                  <a16:creationId xmlns:a16="http://schemas.microsoft.com/office/drawing/2014/main" id="{A881D5DE-A4F0-23B4-4329-5B6C697C6A28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19">
              <a:extLst>
                <a:ext uri="{FF2B5EF4-FFF2-40B4-BE49-F238E27FC236}">
                  <a16:creationId xmlns:a16="http://schemas.microsoft.com/office/drawing/2014/main" id="{06EF1281-7A37-40A3-7F67-21B737303F82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9" name="Freeform: Shape 20">
              <a:extLst>
                <a:ext uri="{FF2B5EF4-FFF2-40B4-BE49-F238E27FC236}">
                  <a16:creationId xmlns:a16="http://schemas.microsoft.com/office/drawing/2014/main" id="{42126FC6-07D9-B16A-7CA8-178738338EB9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0" name="Freeform: Shape 21">
              <a:extLst>
                <a:ext uri="{FF2B5EF4-FFF2-40B4-BE49-F238E27FC236}">
                  <a16:creationId xmlns:a16="http://schemas.microsoft.com/office/drawing/2014/main" id="{229A8360-2626-E5F0-39BB-D77B72891751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1" name="Freeform: Shape 22">
              <a:extLst>
                <a:ext uri="{FF2B5EF4-FFF2-40B4-BE49-F238E27FC236}">
                  <a16:creationId xmlns:a16="http://schemas.microsoft.com/office/drawing/2014/main" id="{2A843C2B-E041-4D22-56A9-94B1D5617DAF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2" name="Freeform: Shape 23">
              <a:extLst>
                <a:ext uri="{FF2B5EF4-FFF2-40B4-BE49-F238E27FC236}">
                  <a16:creationId xmlns:a16="http://schemas.microsoft.com/office/drawing/2014/main" id="{C6474CCF-6608-8498-9C8C-B93BABB93022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3" name="Freeform: Shape 24">
              <a:extLst>
                <a:ext uri="{FF2B5EF4-FFF2-40B4-BE49-F238E27FC236}">
                  <a16:creationId xmlns:a16="http://schemas.microsoft.com/office/drawing/2014/main" id="{F8D674AB-9C47-30EE-207A-50D4B4BBF48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4" name="Freeform: Shape 25">
              <a:extLst>
                <a:ext uri="{FF2B5EF4-FFF2-40B4-BE49-F238E27FC236}">
                  <a16:creationId xmlns:a16="http://schemas.microsoft.com/office/drawing/2014/main" id="{E2F3672A-5482-C7FE-7EC8-B443F4F40F04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5" name="Freeform: Shape 26">
              <a:extLst>
                <a:ext uri="{FF2B5EF4-FFF2-40B4-BE49-F238E27FC236}">
                  <a16:creationId xmlns:a16="http://schemas.microsoft.com/office/drawing/2014/main" id="{D545B8EE-2CCC-3BAC-E986-00EA79759AA8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6" name="Freeform: Shape 27">
              <a:extLst>
                <a:ext uri="{FF2B5EF4-FFF2-40B4-BE49-F238E27FC236}">
                  <a16:creationId xmlns:a16="http://schemas.microsoft.com/office/drawing/2014/main" id="{09789EB5-CEE6-5023-6AF6-AABD4391C7C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7" name="Freeform: Shape 28">
              <a:extLst>
                <a:ext uri="{FF2B5EF4-FFF2-40B4-BE49-F238E27FC236}">
                  <a16:creationId xmlns:a16="http://schemas.microsoft.com/office/drawing/2014/main" id="{70E754AC-8DD1-2F40-67EE-B5C35A52467C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8" name="Freeform: Shape 29">
              <a:extLst>
                <a:ext uri="{FF2B5EF4-FFF2-40B4-BE49-F238E27FC236}">
                  <a16:creationId xmlns:a16="http://schemas.microsoft.com/office/drawing/2014/main" id="{254657E0-C6AA-1F79-523D-B7D30BAA9B1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9" name="Freeform: Shape 30">
              <a:extLst>
                <a:ext uri="{FF2B5EF4-FFF2-40B4-BE49-F238E27FC236}">
                  <a16:creationId xmlns:a16="http://schemas.microsoft.com/office/drawing/2014/main" id="{2500DD77-CBE6-B81A-E0CC-FEFEC94EBEDD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0" name="Freeform: Shape 31">
              <a:extLst>
                <a:ext uri="{FF2B5EF4-FFF2-40B4-BE49-F238E27FC236}">
                  <a16:creationId xmlns:a16="http://schemas.microsoft.com/office/drawing/2014/main" id="{D50C8416-53DA-B266-7C0D-50AF6453CB16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1" name="Freeform: Shape 32">
              <a:extLst>
                <a:ext uri="{FF2B5EF4-FFF2-40B4-BE49-F238E27FC236}">
                  <a16:creationId xmlns:a16="http://schemas.microsoft.com/office/drawing/2014/main" id="{70FF5044-611E-5377-24C0-F9A7D8C9AFDF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2" name="Freeform: Shape 33">
              <a:extLst>
                <a:ext uri="{FF2B5EF4-FFF2-40B4-BE49-F238E27FC236}">
                  <a16:creationId xmlns:a16="http://schemas.microsoft.com/office/drawing/2014/main" id="{9AEADB2C-AE04-CCCA-089D-01091E6451EB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3" name="Freeform: Shape 34">
              <a:extLst>
                <a:ext uri="{FF2B5EF4-FFF2-40B4-BE49-F238E27FC236}">
                  <a16:creationId xmlns:a16="http://schemas.microsoft.com/office/drawing/2014/main" id="{4E37F767-1FCB-94E3-BA57-CD194C40846F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4" name="Freeform: Shape 35">
              <a:extLst>
                <a:ext uri="{FF2B5EF4-FFF2-40B4-BE49-F238E27FC236}">
                  <a16:creationId xmlns:a16="http://schemas.microsoft.com/office/drawing/2014/main" id="{9CED6B52-14B5-D65B-F0AC-46B87D6115A4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5" name="Freeform: Shape 36">
              <a:extLst>
                <a:ext uri="{FF2B5EF4-FFF2-40B4-BE49-F238E27FC236}">
                  <a16:creationId xmlns:a16="http://schemas.microsoft.com/office/drawing/2014/main" id="{86EE7044-359A-D960-824F-D1DAFED205AE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6" name="Freeform: Shape 37">
              <a:extLst>
                <a:ext uri="{FF2B5EF4-FFF2-40B4-BE49-F238E27FC236}">
                  <a16:creationId xmlns:a16="http://schemas.microsoft.com/office/drawing/2014/main" id="{59DC7821-1BD3-053F-CC2C-FA9C7ADA0D09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7" name="Freeform: Shape 38">
              <a:extLst>
                <a:ext uri="{FF2B5EF4-FFF2-40B4-BE49-F238E27FC236}">
                  <a16:creationId xmlns:a16="http://schemas.microsoft.com/office/drawing/2014/main" id="{15CA895F-BEF9-24C2-2813-D313D8DD71C5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8" name="Freeform: Shape 39">
              <a:extLst>
                <a:ext uri="{FF2B5EF4-FFF2-40B4-BE49-F238E27FC236}">
                  <a16:creationId xmlns:a16="http://schemas.microsoft.com/office/drawing/2014/main" id="{4C46B5EB-9E54-F999-1DDC-B569374F4210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9" name="Freeform: Shape 40">
              <a:extLst>
                <a:ext uri="{FF2B5EF4-FFF2-40B4-BE49-F238E27FC236}">
                  <a16:creationId xmlns:a16="http://schemas.microsoft.com/office/drawing/2014/main" id="{E028B727-7398-3011-9BEF-4E15F056FFB0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0" name="Freeform: Shape 41">
              <a:extLst>
                <a:ext uri="{FF2B5EF4-FFF2-40B4-BE49-F238E27FC236}">
                  <a16:creationId xmlns:a16="http://schemas.microsoft.com/office/drawing/2014/main" id="{18FF0836-64F6-5C05-A22B-D7DF93510300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1" name="Freeform: Shape 42">
              <a:extLst>
                <a:ext uri="{FF2B5EF4-FFF2-40B4-BE49-F238E27FC236}">
                  <a16:creationId xmlns:a16="http://schemas.microsoft.com/office/drawing/2014/main" id="{C13DB331-1418-B418-52A9-8AEE9E058FF7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2" name="Freeform: Shape 43">
              <a:extLst>
                <a:ext uri="{FF2B5EF4-FFF2-40B4-BE49-F238E27FC236}">
                  <a16:creationId xmlns:a16="http://schemas.microsoft.com/office/drawing/2014/main" id="{94371CD5-1268-FB27-F7F2-8FA9B6A9791B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3" name="Freeform: Shape 44">
              <a:extLst>
                <a:ext uri="{FF2B5EF4-FFF2-40B4-BE49-F238E27FC236}">
                  <a16:creationId xmlns:a16="http://schemas.microsoft.com/office/drawing/2014/main" id="{071E93ED-A838-073D-B4BF-4641DED982A4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4" name="Freeform: Shape 45">
              <a:extLst>
                <a:ext uri="{FF2B5EF4-FFF2-40B4-BE49-F238E27FC236}">
                  <a16:creationId xmlns:a16="http://schemas.microsoft.com/office/drawing/2014/main" id="{EFD0E118-C9D3-E847-13DA-0BDB6D770458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5" name="Freeform: Shape 46">
              <a:extLst>
                <a:ext uri="{FF2B5EF4-FFF2-40B4-BE49-F238E27FC236}">
                  <a16:creationId xmlns:a16="http://schemas.microsoft.com/office/drawing/2014/main" id="{688FC89C-F69D-3679-0A7E-E504CCBB9AA5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6" name="Freeform: Shape 47">
              <a:extLst>
                <a:ext uri="{FF2B5EF4-FFF2-40B4-BE49-F238E27FC236}">
                  <a16:creationId xmlns:a16="http://schemas.microsoft.com/office/drawing/2014/main" id="{10B502B2-062B-0F53-A74B-4D9D04B7A4AC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7" name="Freeform: Shape 48">
              <a:extLst>
                <a:ext uri="{FF2B5EF4-FFF2-40B4-BE49-F238E27FC236}">
                  <a16:creationId xmlns:a16="http://schemas.microsoft.com/office/drawing/2014/main" id="{2CE2BA8E-E008-ED3F-160C-CB2D5CFF1D9E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8" name="Freeform: Shape 49">
              <a:extLst>
                <a:ext uri="{FF2B5EF4-FFF2-40B4-BE49-F238E27FC236}">
                  <a16:creationId xmlns:a16="http://schemas.microsoft.com/office/drawing/2014/main" id="{A676982A-C828-E2B9-AA7E-52889F4B088C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9" name="Freeform: Shape 50">
              <a:extLst>
                <a:ext uri="{FF2B5EF4-FFF2-40B4-BE49-F238E27FC236}">
                  <a16:creationId xmlns:a16="http://schemas.microsoft.com/office/drawing/2014/main" id="{EF557728-7786-AF84-299F-D0259CD68D0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0" name="Freeform: Shape 51">
              <a:extLst>
                <a:ext uri="{FF2B5EF4-FFF2-40B4-BE49-F238E27FC236}">
                  <a16:creationId xmlns:a16="http://schemas.microsoft.com/office/drawing/2014/main" id="{DB832B57-5325-AAF2-5898-BE41CD475A5C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1" name="Freeform: Shape 52">
              <a:extLst>
                <a:ext uri="{FF2B5EF4-FFF2-40B4-BE49-F238E27FC236}">
                  <a16:creationId xmlns:a16="http://schemas.microsoft.com/office/drawing/2014/main" id="{E061B813-E10C-18A5-3E4C-5B517E18AA57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2" name="Freeform: Shape 53">
              <a:extLst>
                <a:ext uri="{FF2B5EF4-FFF2-40B4-BE49-F238E27FC236}">
                  <a16:creationId xmlns:a16="http://schemas.microsoft.com/office/drawing/2014/main" id="{BF8AC6C7-6A68-9611-7F97-E454D9938D46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3" name="Freeform: Shape 54">
              <a:extLst>
                <a:ext uri="{FF2B5EF4-FFF2-40B4-BE49-F238E27FC236}">
                  <a16:creationId xmlns:a16="http://schemas.microsoft.com/office/drawing/2014/main" id="{17BF7FB9-0140-4A6F-FC66-5D5C635FCDC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4" name="Freeform: Shape 55">
              <a:extLst>
                <a:ext uri="{FF2B5EF4-FFF2-40B4-BE49-F238E27FC236}">
                  <a16:creationId xmlns:a16="http://schemas.microsoft.com/office/drawing/2014/main" id="{72141021-24DC-6536-0A8C-41092BAF27F3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5" name="Freeform: Shape 56">
              <a:extLst>
                <a:ext uri="{FF2B5EF4-FFF2-40B4-BE49-F238E27FC236}">
                  <a16:creationId xmlns:a16="http://schemas.microsoft.com/office/drawing/2014/main" id="{16BF9659-481B-E27A-6BF0-AE4DCBC76387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6" name="Freeform: Shape 57">
              <a:extLst>
                <a:ext uri="{FF2B5EF4-FFF2-40B4-BE49-F238E27FC236}">
                  <a16:creationId xmlns:a16="http://schemas.microsoft.com/office/drawing/2014/main" id="{6E9CFDF6-1283-9103-F8EB-C90C570BB718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33" name="Retângulo 32">
            <a:extLst>
              <a:ext uri="{FF2B5EF4-FFF2-40B4-BE49-F238E27FC236}">
                <a16:creationId xmlns:a16="http://schemas.microsoft.com/office/drawing/2014/main" id="{95D12014-A516-3CD1-BF9D-31FE9D1C662B}"/>
              </a:ext>
            </a:extLst>
          </p:cNvPr>
          <p:cNvSpPr/>
          <p:nvPr/>
        </p:nvSpPr>
        <p:spPr>
          <a:xfrm>
            <a:off x="514057" y="304876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1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5DE8D29A-CBD8-58CC-BB83-A7A9F6E1E9E2}"/>
              </a:ext>
            </a:extLst>
          </p:cNvPr>
          <p:cNvSpPr/>
          <p:nvPr/>
        </p:nvSpPr>
        <p:spPr>
          <a:xfrm>
            <a:off x="4698345" y="2994295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2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8F36F981-BB5B-E5E1-9BB4-06F0FCB3959B}"/>
              </a:ext>
            </a:extLst>
          </p:cNvPr>
          <p:cNvSpPr/>
          <p:nvPr/>
        </p:nvSpPr>
        <p:spPr>
          <a:xfrm>
            <a:off x="8768459" y="3131507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3</a:t>
            </a:r>
          </a:p>
        </p:txBody>
      </p:sp>
      <p:graphicFrame>
        <p:nvGraphicFramePr>
          <p:cNvPr id="42" name="Tabela 41">
            <a:extLst>
              <a:ext uri="{FF2B5EF4-FFF2-40B4-BE49-F238E27FC236}">
                <a16:creationId xmlns:a16="http://schemas.microsoft.com/office/drawing/2014/main" id="{BF8BB49F-3084-1560-AB43-87BF581BE483}"/>
              </a:ext>
            </a:extLst>
          </p:cNvPr>
          <p:cNvGraphicFramePr>
            <a:graphicFrameLocks noGrp="1"/>
          </p:cNvGraphicFramePr>
          <p:nvPr/>
        </p:nvGraphicFramePr>
        <p:xfrm>
          <a:off x="1975454" y="156859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51" name="Tabela 50">
            <a:extLst>
              <a:ext uri="{FF2B5EF4-FFF2-40B4-BE49-F238E27FC236}">
                <a16:creationId xmlns:a16="http://schemas.microsoft.com/office/drawing/2014/main" id="{253D52A0-CC56-19DB-954B-FE17ABAA9837}"/>
              </a:ext>
            </a:extLst>
          </p:cNvPr>
          <p:cNvGraphicFramePr>
            <a:graphicFrameLocks noGrp="1"/>
          </p:cNvGraphicFramePr>
          <p:nvPr/>
        </p:nvGraphicFramePr>
        <p:xfrm>
          <a:off x="6066630" y="1583418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52" name="Tabela 51">
            <a:extLst>
              <a:ext uri="{FF2B5EF4-FFF2-40B4-BE49-F238E27FC236}">
                <a16:creationId xmlns:a16="http://schemas.microsoft.com/office/drawing/2014/main" id="{31654E33-51E8-720E-35A6-94F15CA670AC}"/>
              </a:ext>
            </a:extLst>
          </p:cNvPr>
          <p:cNvGraphicFramePr>
            <a:graphicFrameLocks noGrp="1"/>
          </p:cNvGraphicFramePr>
          <p:nvPr/>
        </p:nvGraphicFramePr>
        <p:xfrm>
          <a:off x="10093185" y="159032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1035" name="Retângulo 1034">
            <a:extLst>
              <a:ext uri="{FF2B5EF4-FFF2-40B4-BE49-F238E27FC236}">
                <a16:creationId xmlns:a16="http://schemas.microsoft.com/office/drawing/2014/main" id="{EF0C474D-0F7E-6158-82C3-B740E860B487}"/>
              </a:ext>
            </a:extLst>
          </p:cNvPr>
          <p:cNvSpPr/>
          <p:nvPr/>
        </p:nvSpPr>
        <p:spPr>
          <a:xfrm>
            <a:off x="2625231" y="5531351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4</a:t>
            </a:r>
          </a:p>
        </p:txBody>
      </p:sp>
      <p:sp>
        <p:nvSpPr>
          <p:cNvPr id="1036" name="Retângulo 1035">
            <a:extLst>
              <a:ext uri="{FF2B5EF4-FFF2-40B4-BE49-F238E27FC236}">
                <a16:creationId xmlns:a16="http://schemas.microsoft.com/office/drawing/2014/main" id="{E98BBE3E-AE03-B2DA-D2FF-FF77504828A8}"/>
              </a:ext>
            </a:extLst>
          </p:cNvPr>
          <p:cNvSpPr/>
          <p:nvPr/>
        </p:nvSpPr>
        <p:spPr>
          <a:xfrm>
            <a:off x="6616157" y="551830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5</a:t>
            </a:r>
          </a:p>
        </p:txBody>
      </p:sp>
      <p:graphicFrame>
        <p:nvGraphicFramePr>
          <p:cNvPr id="1038" name="Tabela 1037">
            <a:extLst>
              <a:ext uri="{FF2B5EF4-FFF2-40B4-BE49-F238E27FC236}">
                <a16:creationId xmlns:a16="http://schemas.microsoft.com/office/drawing/2014/main" id="{CAC323AA-629D-13B2-E202-9949C68ED675}"/>
              </a:ext>
            </a:extLst>
          </p:cNvPr>
          <p:cNvGraphicFramePr>
            <a:graphicFrameLocks noGrp="1"/>
          </p:cNvGraphicFramePr>
          <p:nvPr/>
        </p:nvGraphicFramePr>
        <p:xfrm>
          <a:off x="3987145" y="4032740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1039" name="Tabela 1038">
            <a:extLst>
              <a:ext uri="{FF2B5EF4-FFF2-40B4-BE49-F238E27FC236}">
                <a16:creationId xmlns:a16="http://schemas.microsoft.com/office/drawing/2014/main" id="{4AB2C54A-146F-B07A-C3A8-571E31A470FB}"/>
              </a:ext>
            </a:extLst>
          </p:cNvPr>
          <p:cNvGraphicFramePr>
            <a:graphicFrameLocks noGrp="1"/>
          </p:cNvGraphicFramePr>
          <p:nvPr/>
        </p:nvGraphicFramePr>
        <p:xfrm>
          <a:off x="8036631" y="4047559"/>
          <a:ext cx="1788886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8886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___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6" name="Freeform 3">
            <a:extLst>
              <a:ext uri="{FF2B5EF4-FFF2-40B4-BE49-F238E27FC236}">
                <a16:creationId xmlns:a16="http://schemas.microsoft.com/office/drawing/2014/main" id="{9E695597-57E6-3B6F-6F53-77EB80FE4F8D}"/>
              </a:ext>
            </a:extLst>
          </p:cNvPr>
          <p:cNvSpPr/>
          <p:nvPr/>
        </p:nvSpPr>
        <p:spPr>
          <a:xfrm>
            <a:off x="263731" y="1380552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0220C8E0-91F3-4809-2D7A-6BAEC82A9C28}"/>
              </a:ext>
            </a:extLst>
          </p:cNvPr>
          <p:cNvSpPr/>
          <p:nvPr/>
        </p:nvSpPr>
        <p:spPr>
          <a:xfrm>
            <a:off x="4410173" y="133067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A61905C1-A032-331D-2575-78A06075DB18}"/>
              </a:ext>
            </a:extLst>
          </p:cNvPr>
          <p:cNvSpPr/>
          <p:nvPr/>
        </p:nvSpPr>
        <p:spPr>
          <a:xfrm>
            <a:off x="2341289" y="386439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6AEB8688-FD06-E8CE-66E0-F55262324ED9}"/>
              </a:ext>
            </a:extLst>
          </p:cNvPr>
          <p:cNvSpPr/>
          <p:nvPr/>
        </p:nvSpPr>
        <p:spPr>
          <a:xfrm>
            <a:off x="6332215" y="3848934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4" name="Freeform 3">
            <a:extLst>
              <a:ext uri="{FF2B5EF4-FFF2-40B4-BE49-F238E27FC236}">
                <a16:creationId xmlns:a16="http://schemas.microsoft.com/office/drawing/2014/main" id="{CFB8B6DE-A856-8B9E-494C-F9C22EBC9B22}"/>
              </a:ext>
            </a:extLst>
          </p:cNvPr>
          <p:cNvSpPr/>
          <p:nvPr/>
        </p:nvSpPr>
        <p:spPr>
          <a:xfrm>
            <a:off x="8454722" y="1470021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C2F94A55-B4AC-D759-AA3B-475228C6F6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359892"/>
              </p:ext>
            </p:extLst>
          </p:nvPr>
        </p:nvGraphicFramePr>
        <p:xfrm>
          <a:off x="1978117" y="1570255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M-dia</a:t>
                      </a:r>
                      <a:endParaRPr lang="pt-BR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pt-BR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pt-BR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17" name="Título 1">
            <a:extLst>
              <a:ext uri="{FF2B5EF4-FFF2-40B4-BE49-F238E27FC236}">
                <a16:creationId xmlns:a16="http://schemas.microsoft.com/office/drawing/2014/main" id="{5A140D46-F28E-5F95-E172-B09D2522208B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>
                <a:solidFill>
                  <a:srgbClr val="3299B1"/>
                </a:solidFill>
                <a:latin typeface="Agency FB"/>
              </a:rPr>
              <a:t>Dinâmica - Explicação</a:t>
            </a:r>
            <a:endParaRPr lang="pt-BR" sz="3600" b="1" dirty="0">
              <a:solidFill>
                <a:srgbClr val="3299B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725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51EB0-C79C-59EC-60F2-15F750D83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D7AA219-8FBF-D87D-66BC-1C87AF32EC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7AA219-8FBF-D87D-66BC-1C87AF32E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7E228655-A661-7211-77BF-C0DE9A00818F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0A909B-1FB1-9DED-99AF-F436863A0260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7F87176-53F2-E8E3-8BAE-EEB11A1CF773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2A1A2C3-5469-704D-B006-D2022D12FD76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D3381BB-991A-3467-4F1A-617C3ADE8F26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9C70B87-9706-272C-C412-76B53270B1ED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CE45BC-2039-8D79-1E4C-C389963D611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2964AC-CD1B-108B-C010-D5FB5D6DABE6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308409-DFEC-9D55-D35A-86E39E08FF7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8303B58-0303-108D-BE76-04268FB9D7D8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93896-6ABC-B056-6D9A-38AA90501CFE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842E3B7-269E-F498-B784-7DB97D5FEE85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72714BD-5F1D-2DBC-C13B-8671800F4014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4900778-B52B-BE1E-BCA2-343C6291B728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218534E-B3BD-4AE2-3D63-401FBC0359A1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E46F456-B699-03EB-3639-966518DA5928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420F85F-FD23-6453-FBBE-AF3D205EDF73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DB7D7FE-173A-2883-6455-9EC6C00AB2A8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14B135D-938D-2F9F-22F7-2D67F9550258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046BCA5-F7BF-22FF-7DF3-9D626F63892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699DE71-8AB0-D275-24DE-3195C2EE23EE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78E05A3-ED17-D02D-6C89-9129A2257CE4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1E72054-2CA6-59A5-54A4-60CEB1E2D9A4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47FDA0A-31A7-E47D-D340-1F898476C8D0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4FAA927-5A98-E4C5-2B98-B41BF338785E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316550B-06F7-CAA7-11BD-85E32B10C297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01EF2EA-B6B3-BA90-B12A-652E2E518D3F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9C6FFDC-4F25-17B4-B0C9-25705E8CB4E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C30589F-D8F0-AEA2-8920-11C1C48F3D83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07D33A2-34EE-C4C2-9F20-BFACCA6A9D9B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0A8514C-59D4-6FB3-3C69-AF902E3D925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70A1D51-D8F6-0794-579F-5B5ECAFE5EDB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B06282A-966B-6653-8537-A1F6425226D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511CA49-6E67-BF12-400A-3076B85AA385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833748D-C47F-F6AC-05FD-5184459BA371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2950A88-158D-7468-E143-CF1E6ED505A6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4973579-3D72-8E81-4874-F8F6B682AF77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EBC9AF8-0876-A24C-8362-5982A1C01F8A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3505E1A-4385-952D-ADD9-311754501D0E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98552AC-3258-71C6-DED2-7C5B3C3FBED3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4F54FD8-8A93-5340-C0DE-BAB74B598864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6390203-8C0F-8EDE-8A58-B791C8C1A3AB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C97FA45-94CC-C458-B2C3-F7653CA049AD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A4D37BA-8C05-A256-C699-E22781555BB7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6DA58435-3272-28A4-22EF-51184B5F7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BBFC2DBC-EBFA-C929-FAA8-B96B7FEDF8E2}"/>
              </a:ext>
            </a:extLst>
          </p:cNvPr>
          <p:cNvSpPr txBox="1"/>
          <p:nvPr/>
        </p:nvSpPr>
        <p:spPr>
          <a:xfrm>
            <a:off x="6096001" y="1518606"/>
            <a:ext cx="6096000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noProof="0" dirty="0"/>
              <a:t>Nas últimas 6h: </a:t>
            </a:r>
            <a:r>
              <a:rPr lang="pt-BR" sz="2000" noProof="0" dirty="0"/>
              <a:t>Piora clínica com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Temperatura: 35,5º (hipotermia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Piora do desconforto respiratório (</a:t>
            </a:r>
            <a:r>
              <a:rPr lang="pt-BR" sz="2000" dirty="0" err="1"/>
              <a:t>gemência</a:t>
            </a:r>
            <a:r>
              <a:rPr lang="pt-BR" sz="2000" dirty="0"/>
              <a:t> e taquipneia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Aumento dos parâmetros ventilatório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Hipoatividade</a:t>
            </a:r>
          </a:p>
          <a:p>
            <a:pPr>
              <a:lnSpc>
                <a:spcPct val="150000"/>
              </a:lnSpc>
            </a:pPr>
            <a:endParaRPr lang="pt-BR" sz="2000" noProof="0" dirty="0"/>
          </a:p>
        </p:txBody>
      </p:sp>
      <p:pic>
        <p:nvPicPr>
          <p:cNvPr id="2050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F6850099-541A-E6E5-75C5-80BAF018C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E0719B13-97F5-9AA9-913A-6563FD4B3D77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1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94BAE512-7E91-425F-E6F6-4684334BCE12}"/>
              </a:ext>
            </a:extLst>
          </p:cNvPr>
          <p:cNvSpPr/>
          <p:nvPr/>
        </p:nvSpPr>
        <p:spPr>
          <a:xfrm rot="16200000">
            <a:off x="5417591" y="162384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76927F33-F234-1389-F978-269E30D75C73}"/>
              </a:ext>
            </a:extLst>
          </p:cNvPr>
          <p:cNvSpPr/>
          <p:nvPr/>
        </p:nvSpPr>
        <p:spPr>
          <a:xfrm rot="16200000">
            <a:off x="11148857" y="59681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485089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animBg="1"/>
      <p:bldP spid="1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79FBD-A6D4-1B15-40A3-CAFF5184A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23294B8F-ADF5-09DA-A60F-6237BB1B68D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73734E0-7C1A-2FFD-03EA-B29825DF06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3734E0-7C1A-2FFD-03EA-B29825DF0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70C33DCB-E06C-3A3E-07F8-8712433D0F59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5FE3CB1-563B-9223-CD92-07E30A166EB7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BD9D861-7B35-AE5F-034A-13DEA27E8E19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51018EA-23BE-A8A3-9EEC-ACCC7CABC5F8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4CE0D23-B755-BCE2-96FF-5725F79EB20F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2AF9BE6-31BA-793F-FBD1-B93ACF51D794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E366AB1-727F-B7B1-E6A7-807FED19810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9EA1041-EE2E-22F5-BE42-335F7E9DF455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CF41B41-28AA-A09B-CC54-3D58E4829C88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8E52546-E975-3B90-4636-F008CD4CDD0D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225E7DE-4FC6-48E3-8220-034E79092CDB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36A0A55-5433-7E83-86DF-7C7CE008A7CD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8459D63-0CD2-ABE0-09E1-A2C30A50202A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0EC1D8-21F5-823A-63A8-2FBB52CCDEB7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2E4CAF-E43B-3494-442D-CF2F4A722B0A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DB81206-A520-CC11-0236-1671712C0C1C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37343A3-ADBE-275A-77D6-273A37664149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10C85E3-863B-458D-006D-49C168F701FC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D76A0CD-6332-2C7D-A0F3-CB442B911A1D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BDB1449-F46D-38FC-D0F6-35D15C868396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BCE6A37-B513-788C-284F-02C183AD81A5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183586-1866-5E52-2DFE-1D19E030CF73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A6F945A-28E1-B970-7DF8-1E8220E8788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91914B8-ADA7-2C8F-D15E-1136DAF8FF61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CB75790-654E-CCDC-0B8B-EAF4141F28FC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54EB410-B4BB-3BEF-2F68-40DAEEB171B8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9406D0B-34FD-F4AD-6620-E6F59DFCE3C9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19E4E13-D50F-15D5-31C0-64D28452D92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7AB3199-95FA-162A-0A65-82947DF84AF4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85B068E-32E4-D9CA-13B7-CC8EF9CC629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90049BB-4625-F8BE-36EE-584882C4F80F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A263DD8-06F4-385D-ABE6-9A06CCE23D33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0E9B7B0-FD2F-1663-46A6-191328794555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DDE323B-60AD-3B63-6324-282612C0A42B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1E58DE4-4941-FC0D-DC86-7EE449D187BB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9715686-2220-A0FB-15CF-87B76C22C6D4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0D12F23-A0B3-F1A6-0997-0D66064751C4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5552AB1-6252-9905-B650-90D8D5F3BAF0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3065EF8-C70A-983C-0903-116703262C67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EFF4DBC-B1E8-186A-C913-7945FEF1E3B8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9AE2340-4192-3272-8A1E-B07968CDB61C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18C1C12-C651-BED2-4EC0-04CD048AAE62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A94F42-F129-3CE1-B2BC-CFD5D50AC458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2C3EFFA-77F4-11A9-62C9-9E8A73F2801B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7BEFA16-860D-4A4C-6171-86CB886D28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0585757-F59A-1005-6426-B6292D70F381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2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13154905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6220E-91B1-B08E-EB89-5AF0D0E6F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4CC3EEE-AD11-8605-3D1A-2F262A4B3A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CC3EEE-AD11-8605-3D1A-2F262A4B3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03E594A0-DC03-4BBF-51AA-94C7E007CEFE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8971D19-691F-A7A2-BA88-41018807284C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B0DB5C0-20BA-7634-BF8F-ED5A8381D791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AE78983-5A8B-0BBF-9A65-E3EA9122E41E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75647BB-36D7-FE25-62F8-8B1B1F20E2A3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3825C2D-9ADA-5D39-B91C-764EBA9561E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F693F1E-EF92-C7F8-7966-5F54F2933347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03AD6D-07CA-E900-4DEC-6433877C8589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3E209DA-56CB-4B11-9D4E-0501FE252FCC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2CB1126-7D4C-132B-AFB2-4E5D6DE7FB9F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9E53320-B2DE-A504-A83B-5D11CCCCC61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22F76D8-8D34-E1B1-C2B7-7BB942604AB0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9CBAAFA-49FA-7B43-3F08-A4E82A3FE46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DA863FE-8D4F-42A9-EB8B-110193BF8DF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313F8B9-2C27-C379-53CD-45D5C84ADD3C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5D3FF7C-0643-44DE-0103-6D829E213E6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AE1516D-42FC-B338-1029-3BD0D8BAB1DB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561E100-093C-5459-C3C9-D69D6BC5E7EC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C6BCB7-5ED9-51A6-7154-99929601F63B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541810-57AE-04C2-A8C7-C232D0FA0C1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3703719-58C0-FFDC-40A4-CDBDFCD8EF50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AF091F2-1321-44E5-0C69-56139059B414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62AEC3-0D25-83FC-44AB-EDE6F641E439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35EFDEB-1D74-CBA5-05C8-0C156CF4E9D7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E8646A0-FA10-C80F-C621-30D1CBD210C3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0B845C7-4380-61D6-711C-CDACB7FEE1A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D5A9491-FA98-42CA-F6AB-43A4141661B9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1EBA7BD-4EF2-3210-3BAC-21B2AA25C03F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6DA51A5-EB13-6941-42C5-84D4A525331E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78DA1DB-1688-DD36-227A-ACB282DB6E21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FBADC12-5021-611A-74AB-0C14F79505B9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C8F6988-704B-E396-4CAA-FE53335B13EC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726BAAD-4B7A-C9A5-D331-0E995B2E8A97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65C651F-D86D-9595-6CF7-4B7D91B85368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0ACD9D2-36AF-5BB6-8EFD-963393992ACF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30B082-AF64-428F-BD4D-CD17459CE404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41909F8-4667-CE04-FFF9-76071ADBBA55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53CF481-0CBA-2179-E5D7-1CF828160000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03B4C12-B472-D730-76D1-937EA3EE75C5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F2FB6D2-AF07-6837-8601-89D5CAD57512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70DF218-47C1-0096-3911-8242681E57DC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263AE76-ECCC-219E-8FCB-DDD1D9DF4F62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01202A8-DF00-411E-DB95-8064CBC77365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CC7F918-3C9E-8550-9CCB-241D1B9BDDFD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5A952C16-E5B2-9510-571F-68923D8F7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pic>
        <p:nvPicPr>
          <p:cNvPr id="6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B7525038-B186-FCAF-9CFC-66ECE6829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77291DEB-2E9D-789F-469A-60CAECFDE3C0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2</a:t>
            </a: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3ED55726-60C9-7E47-D1DC-6AF5A349882B}"/>
              </a:ext>
            </a:extLst>
          </p:cNvPr>
          <p:cNvSpPr/>
          <p:nvPr/>
        </p:nvSpPr>
        <p:spPr>
          <a:xfrm rot="16200000">
            <a:off x="11148857" y="59681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63985EC0-BC8D-F30F-5650-7DF499C3B21F}"/>
              </a:ext>
            </a:extLst>
          </p:cNvPr>
          <p:cNvSpPr txBox="1"/>
          <p:nvPr/>
        </p:nvSpPr>
        <p:spPr>
          <a:xfrm>
            <a:off x="5876585" y="1195725"/>
            <a:ext cx="5887262" cy="5122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,Sans-Serif" panose="020B0604020202020204" pitchFamily="34" charset="0"/>
              <a:buChar char="•"/>
            </a:pPr>
            <a:r>
              <a:rPr lang="pt-BR" sz="2000" b="1" dirty="0"/>
              <a:t>Nas </a:t>
            </a:r>
            <a:r>
              <a:rPr lang="pt-BR" sz="2000" b="1"/>
              <a:t>últimas</a:t>
            </a:r>
            <a:r>
              <a:rPr lang="pt-BR" sz="2000" b="1" dirty="0"/>
              <a:t> 12 h:</a:t>
            </a:r>
            <a:r>
              <a:rPr lang="pt-BR" sz="2000" dirty="0"/>
              <a:t> Sem mudança nas características da secreção respiratória</a:t>
            </a:r>
            <a:endParaRPr lang="en-US" sz="2000" dirty="0">
              <a:ea typeface="Calibri"/>
              <a:cs typeface="Calibri"/>
            </a:endParaRPr>
          </a:p>
          <a:p>
            <a:pPr marL="342900" indent="-342900" algn="just">
              <a:lnSpc>
                <a:spcPct val="150000"/>
              </a:lnSpc>
              <a:buFont typeface="Arial,Sans-Serif" panose="020B0604020202020204" pitchFamily="34" charset="0"/>
              <a:buChar char="•"/>
            </a:pPr>
            <a:r>
              <a:rPr lang="pt-BR" sz="2000" dirty="0"/>
              <a:t>Evacuação presente</a:t>
            </a:r>
            <a:endParaRPr lang="en-US" sz="2000" dirty="0">
              <a:ea typeface="Calibri"/>
              <a:cs typeface="Calibri"/>
            </a:endParaRPr>
          </a:p>
          <a:p>
            <a:pPr marL="342900" indent="-342900" algn="just">
              <a:lnSpc>
                <a:spcPct val="150000"/>
              </a:lnSpc>
              <a:buFont typeface="Arial,Sans-Serif" panose="020B0604020202020204" pitchFamily="34" charset="0"/>
              <a:buChar char="•"/>
            </a:pPr>
            <a:r>
              <a:rPr lang="pt-BR" sz="2000" dirty="0"/>
              <a:t>Abdome flácido</a:t>
            </a:r>
          </a:p>
          <a:p>
            <a:pPr algn="just"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b="1" dirty="0"/>
              <a:t>Iniciado </a:t>
            </a:r>
            <a:r>
              <a:rPr lang="pt-BR" sz="2000" b="1" dirty="0" err="1"/>
              <a:t>Cefepime</a:t>
            </a:r>
            <a:r>
              <a:rPr lang="pt-BR" sz="2000" b="1" dirty="0"/>
              <a:t> e </a:t>
            </a:r>
            <a:r>
              <a:rPr lang="pt-BR" sz="2000" b="1" dirty="0" err="1"/>
              <a:t>Vanco</a:t>
            </a:r>
            <a:r>
              <a:rPr lang="pt-BR" sz="2000" b="1" dirty="0"/>
              <a:t> e solicitada coleta de: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Hemograma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Proteína C reativa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Hemocultura </a:t>
            </a:r>
            <a:endParaRPr lang="pt-BR" sz="2400" dirty="0"/>
          </a:p>
          <a:p>
            <a:pPr marL="342900" indent="-342900" algn="just">
              <a:lnSpc>
                <a:spcPct val="150000"/>
              </a:lnSpc>
              <a:buFont typeface="Arial,Sans-Serif" panose="020B0604020202020204" pitchFamily="34" charset="0"/>
              <a:buChar char="•"/>
            </a:pPr>
            <a:endParaRPr lang="en-US" sz="2000" dirty="0">
              <a:ea typeface="Calibri"/>
              <a:cs typeface="Calibri"/>
            </a:endParaRPr>
          </a:p>
          <a:p>
            <a:pPr>
              <a:lnSpc>
                <a:spcPct val="150000"/>
              </a:lnSpc>
            </a:pPr>
            <a:endParaRPr lang="pt-BR" sz="2000" dirty="0">
              <a:ea typeface="Calibri"/>
              <a:cs typeface="Calibri"/>
            </a:endParaRP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7C2F45B1-0931-30B6-7AC0-8B9462CEF4E0}"/>
              </a:ext>
            </a:extLst>
          </p:cNvPr>
          <p:cNvSpPr/>
          <p:nvPr/>
        </p:nvSpPr>
        <p:spPr>
          <a:xfrm rot="16200000">
            <a:off x="5030133" y="1326799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</p:spTree>
    <p:extLst>
      <p:ext uri="{BB962C8B-B14F-4D97-AF65-F5344CB8AC3E}">
        <p14:creationId xmlns:p14="http://schemas.microsoft.com/office/powerpoint/2010/main" val="110716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" grpId="0"/>
      <p:bldP spid="10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6A399-8A44-6A68-B6BB-AA2A5D0AB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de desenho infantil&#10;&#10;Descrição gerada automaticamente com confiança média">
            <a:extLst>
              <a:ext uri="{FF2B5EF4-FFF2-40B4-BE49-F238E27FC236}">
                <a16:creationId xmlns:a16="http://schemas.microsoft.com/office/drawing/2014/main" id="{94704743-ACA0-9390-4F64-81FDEB3503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8940" t="22000" r="8413" b="22117"/>
          <a:stretch/>
        </p:blipFill>
        <p:spPr>
          <a:xfrm>
            <a:off x="2373330" y="588718"/>
            <a:ext cx="7931650" cy="5363105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6711A34-E7E3-C68B-012E-49FF6F7CCC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8" progId="TCLayout.ActiveDocument.1">
                  <p:embed/>
                </p:oleObj>
              </mc:Choice>
              <mc:Fallback>
                <p:oleObj name="think-cell Slide" r:id="rId6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11A34-E7E3-C68B-012E-49FF6F7CCC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C62583F5-FD15-617D-7F5C-9F0916D5E89F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A9F77B9-3D2B-3D34-D4FC-3AA44F106183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DE8F57-B07E-607F-65C5-9693B6FBB5D9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C1BC3DD-44F0-D07E-B34C-848DF4B0DAEC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BC0FD49-8469-2436-8B8E-257EACCA7FFB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26DCD8D-5C01-FE08-456F-F3C9DC0B48D5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02529FF-CAC6-CC51-F73C-98EB6F33993F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A366C3C-60A9-4866-DA84-1A2257BF6B6A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0B1BAEA-A93E-2C14-0D24-9EBEE9574D4E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3FBFD-1324-577D-74DC-645105A3822C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E8CA464-506B-97EE-4724-39315CF278E4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EB48036-6F02-3618-80DC-B3B9599CA94C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39731D-660D-8531-0425-050EAC0526A1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598F79E-9D1D-43C4-F17D-CD54F3C905C6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F2DEE77-07AF-D771-B9EC-CD322DF7AB55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4100057-E35D-046B-E52C-5145AA6D8FD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F2ECE0C-81C2-531F-072F-6EA128CB3B43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4FEABC9-A97D-3967-FEB6-A94F917917E3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71368A9-430F-FB74-B276-C2C728D0E2CC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E7138AB-E587-F595-6EC7-9BA99B215F78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C948DFD-C8B2-7BD8-EAE5-26DF74FA16E8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4679341-06A8-6300-3C6F-43877D3AF569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99F7EFB-370B-86DA-6D5C-240E1F75A6D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44F93CD-71B1-E88C-43EA-DDBFF978E760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C0D43E5-FDD1-00DB-8EEA-D7BA98AAB921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4F55876-0958-6161-8544-50E5CD9C3974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5FF72B7-27D0-48F6-4C25-CDA396B5D37D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2009032-7B3E-674C-CB9E-282662897208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5B613A3-1EC2-7D99-5BF8-80832C42CBB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A0348E8-742A-4761-9B75-930DBFB9B0A3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B81A9CA-C435-2240-FE33-0D4C58314C25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A6A8E45-792A-E0CC-DB3B-E239115C3B3A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8A3281-A267-B4FB-AB9F-71AC566CCD8F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7740FF5-24EC-C884-1537-40CA9A08F552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D28FBE1-6EA2-036D-8C5D-A405F8810A37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B845338-C421-0D34-C9E6-08B69A65B57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C441E03-8F15-39FB-610F-7C662B9B5FE2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765A144-EBDA-1E8B-2DA0-4A104DAC4C7E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6226162-D821-AE7E-1C96-19267C16AA71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75FDB9F-B0F2-F51E-539F-8B7946B8F3FC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2140730-1778-F3E2-0C3F-B821F40DAD8B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6379F3B-D9EF-61F4-B56C-8167152456EB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346B4A0-9A1F-B3FF-B80A-0E11C079C706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A6C0728A-9921-EEC4-2E65-A632682ED0DF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13924271-8611-4A1C-CC55-D38E60A622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1CF25ED-6DC4-8006-BC5F-662C54D698EF}"/>
              </a:ext>
            </a:extLst>
          </p:cNvPr>
          <p:cNvSpPr txBox="1"/>
          <p:nvPr/>
        </p:nvSpPr>
        <p:spPr>
          <a:xfrm>
            <a:off x="5324345" y="1486660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>
                <a:solidFill>
                  <a:schemeClr val="bg1"/>
                </a:solidFill>
              </a:rPr>
              <a:t>Envelope 3</a:t>
            </a:r>
            <a:endParaRPr lang="pt-BR" sz="2400" b="1" noProof="0"/>
          </a:p>
        </p:txBody>
      </p:sp>
    </p:spTree>
    <p:extLst>
      <p:ext uri="{BB962C8B-B14F-4D97-AF65-F5344CB8AC3E}">
        <p14:creationId xmlns:p14="http://schemas.microsoft.com/office/powerpoint/2010/main" val="22654176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A165A4-9E85-9218-7600-9C1B8F28F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D81C862-9331-FE21-9128-ACD3C4EB9B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81C862-9331-FE21-9128-ACD3C4EB9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4BD5C338-D308-E339-C1E2-3B74F221AA30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1CF7E8B-06B1-4C27-9CFF-530272A9D386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61141EE-25F2-C095-1AC8-39FA9F6625E1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47E70C5-9438-3682-2C88-65722063E25C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22E2732-A00D-AB75-5B79-20109D77F885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A527C86-C786-A8D9-624D-6F31667B1ED6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E702DC7-3B22-5382-F141-6EA8D82DDECC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8A9CF8C-635F-F3BE-BBA6-A6BDD413C203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3A2F165-A5F8-C454-70BC-F39CFCA9F2C4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196A8C-02E9-BF5A-EF86-850CFBF4CFD4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0E6B82D-BC49-C7B4-27E8-152711DB7B6A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6A0C2B6-6399-89DD-7FCF-A680243F564C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803774B-9ECD-73DE-02D5-FBEAECD689BC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905D238-8FAB-48D8-711F-6027D74D8F6A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61F6230-76FA-12B3-9DEA-FA466FE030C2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2644271-A397-45AC-18EC-7F6C107DCB9A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9F3BF09-9B3A-2448-7691-18842D37D1A1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B322C2C-17B8-E08D-9489-412E2F532DB6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B239953-9E0D-5004-09A8-BA3D481D10E9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B9B4827-ED0A-56EC-9854-3C813FDD2451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59D48B9-94FB-35E5-3D07-3DDF3419F984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70416C6-EB5F-2292-04CA-E4CB96552622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AB26E38-198A-5A00-8917-5449C761219D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0FAF832-6A06-C265-1C63-B2F44C92B1A5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828952E-6294-4955-1E31-E91DF7D8563D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70B1ECE-79A5-08D5-12CD-AC6C731C53AB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794278D-ABAA-6194-A584-7E8457DB9F29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19D6326-F69F-D96B-2B6A-E6D13B2117E2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2A33B76-D82A-7AAB-1C11-F88C120B7579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4D14086-B189-5E05-9117-0493A651472B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5DE7F79-9FE1-BFD1-E77C-9B1F2ECC2ECD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2D1AF69-C402-7B29-19A3-A96DBE32A051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28FED38-B8B6-0976-EFF4-1936E53333EB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27A15A6-A2A4-BA88-7F0C-E81E5184F888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E711947-1F03-DA6F-FFC5-AE9B8BEBB22E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D0F40FA-87B2-B5CD-69AD-03807CEB8AE7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33DBB34-4BE0-99F2-A95B-9AA6EA302328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3CB34AC-8E0C-409A-132D-1AD31936DAA1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62F4E39-8851-192E-F602-20270A577A10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DA98627-5695-519D-F1B2-F0CA47303324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B32C8A4-B0C0-DD62-3D7A-D8C5D9AC5E5E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E6280A61-243F-15DD-DE7B-59CC05904F76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58258AAC-7373-A61A-2605-CA8C8AC5747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672CBCE-7AB4-4250-7CB5-959CBEBEC7ED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033D2C03-F33D-5127-E37B-2585A9352A0C}"/>
              </a:ext>
            </a:extLst>
          </p:cNvPr>
          <p:cNvSpPr txBox="1"/>
          <p:nvPr/>
        </p:nvSpPr>
        <p:spPr>
          <a:xfrm>
            <a:off x="5699712" y="957394"/>
            <a:ext cx="5692907" cy="56673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lnSpc>
                <a:spcPct val="150000"/>
              </a:lnSpc>
            </a:pPr>
            <a:r>
              <a:rPr lang="pt-BR" sz="2000" b="1" noProof="0"/>
              <a:t>Hemocultura periférica 1:</a:t>
            </a:r>
            <a:endParaRPr lang="pt-BR" sz="2000" noProof="0"/>
          </a:p>
          <a:p>
            <a:pPr lvl="1">
              <a:lnSpc>
                <a:spcPct val="150000"/>
              </a:lnSpc>
            </a:pPr>
            <a:r>
              <a:rPr lang="pt-BR" sz="2000" noProof="0"/>
              <a:t>Positiva para </a:t>
            </a:r>
            <a:r>
              <a:rPr lang="pt-BR" sz="2000" i="1" noProof="0" err="1"/>
              <a:t>Staphylococcus</a:t>
            </a:r>
            <a:r>
              <a:rPr lang="pt-BR" sz="2000" i="1" noProof="0"/>
              <a:t> coagulase-negativo</a:t>
            </a:r>
            <a:endParaRPr lang="pt-BR" sz="2000" noProof="0"/>
          </a:p>
          <a:p>
            <a:pPr lvl="1">
              <a:lnSpc>
                <a:spcPct val="150000"/>
              </a:lnSpc>
            </a:pPr>
            <a:r>
              <a:rPr lang="pt-BR" sz="2000" noProof="0"/>
              <a:t>Tempo para positivar: </a:t>
            </a:r>
            <a:r>
              <a:rPr lang="pt-BR" sz="2000" b="1" noProof="0"/>
              <a:t> 52 horas</a:t>
            </a:r>
            <a:endParaRPr lang="pt-BR" sz="2000" noProof="0"/>
          </a:p>
          <a:p>
            <a:pPr lvl="0">
              <a:lnSpc>
                <a:spcPct val="150000"/>
              </a:lnSpc>
            </a:pPr>
            <a:r>
              <a:rPr lang="pt-BR" sz="2000" b="1" noProof="0"/>
              <a:t>Hemocultura periférica 2:</a:t>
            </a:r>
            <a:endParaRPr lang="pt-BR" sz="2000" noProof="0"/>
          </a:p>
          <a:p>
            <a:pPr lvl="1">
              <a:lnSpc>
                <a:spcPct val="150000"/>
              </a:lnSpc>
            </a:pPr>
            <a:r>
              <a:rPr lang="pt-BR" sz="2000" noProof="0"/>
              <a:t>Negativa</a:t>
            </a:r>
          </a:p>
          <a:p>
            <a:pPr lvl="1">
              <a:lnSpc>
                <a:spcPct val="150000"/>
              </a:lnSpc>
            </a:pPr>
            <a:endParaRPr lang="pt-BR" sz="2000" noProof="0"/>
          </a:p>
          <a:p>
            <a:pPr>
              <a:lnSpc>
                <a:spcPct val="150000"/>
              </a:lnSpc>
            </a:pPr>
            <a:r>
              <a:rPr lang="pt-BR" sz="2000" b="1"/>
              <a:t>Exames laboratoriais: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/>
              <a:t>Leucocitose (</a:t>
            </a:r>
            <a:r>
              <a:rPr lang="pt-BR" sz="2000" err="1"/>
              <a:t>leuco</a:t>
            </a:r>
            <a:r>
              <a:rPr lang="pt-BR" sz="2000"/>
              <a:t> de 32.150/mm</a:t>
            </a:r>
            <a:r>
              <a:rPr lang="pt-BR" sz="2000" baseline="30000"/>
              <a:t>3</a:t>
            </a:r>
            <a:r>
              <a:rPr lang="pt-BR" sz="2000"/>
              <a:t>)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/>
              <a:t>Neutrofilia (&gt; 6.000/mm</a:t>
            </a:r>
            <a:r>
              <a:rPr lang="pt-BR" sz="2000" baseline="30000"/>
              <a:t>3</a:t>
            </a:r>
            <a:r>
              <a:rPr lang="pt-BR" sz="2000"/>
              <a:t>)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/>
              <a:t>Plaquetopenia (&lt; 150.000/ mm</a:t>
            </a:r>
            <a:r>
              <a:rPr lang="pt-BR" sz="2000" baseline="30000"/>
              <a:t>3</a:t>
            </a:r>
            <a:r>
              <a:rPr lang="pt-BR" sz="2000"/>
              <a:t>)</a:t>
            </a:r>
            <a:endParaRPr lang="pt-BR" sz="2000" baseline="30000">
              <a:ea typeface="Calibri"/>
              <a:cs typeface="Calibri"/>
            </a:endParaRP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/>
              <a:t>PCR: 9,0 mg/</a:t>
            </a:r>
            <a:r>
              <a:rPr lang="pt-BR" sz="2000" err="1"/>
              <a:t>dL</a:t>
            </a:r>
            <a:r>
              <a:rPr lang="pt-BR" sz="2000"/>
              <a:t> (Valor prévio: 0,3 mg/</a:t>
            </a:r>
            <a:r>
              <a:rPr lang="pt-BR" sz="2000" err="1"/>
              <a:t>dL</a:t>
            </a:r>
            <a:r>
              <a:rPr lang="pt-BR" sz="2000"/>
              <a:t>)</a:t>
            </a:r>
          </a:p>
          <a:p>
            <a:pPr lvl="1">
              <a:lnSpc>
                <a:spcPct val="150000"/>
              </a:lnSpc>
            </a:pPr>
            <a:endParaRPr lang="pt-BR" sz="2400" noProof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F181DF63-437C-F540-9967-83AE40B42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032086FF-8CC5-5F19-74B8-35447B798D2D}"/>
              </a:ext>
            </a:extLst>
          </p:cNvPr>
          <p:cNvSpPr/>
          <p:nvPr/>
        </p:nvSpPr>
        <p:spPr>
          <a:xfrm rot="16200000">
            <a:off x="11301257" y="6120506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sp>
        <p:nvSpPr>
          <p:cNvPr id="4" name="Seta: para Baixo 3">
            <a:extLst>
              <a:ext uri="{FF2B5EF4-FFF2-40B4-BE49-F238E27FC236}">
                <a16:creationId xmlns:a16="http://schemas.microsoft.com/office/drawing/2014/main" id="{58B57EBB-47B6-2E5B-AF9D-0875BFA8AF0A}"/>
              </a:ext>
            </a:extLst>
          </p:cNvPr>
          <p:cNvSpPr/>
          <p:nvPr/>
        </p:nvSpPr>
        <p:spPr>
          <a:xfrm rot="16200000">
            <a:off x="4982927" y="1350451"/>
            <a:ext cx="457200" cy="542417"/>
          </a:xfrm>
          <a:prstGeom prst="downArrow">
            <a:avLst/>
          </a:prstGeom>
          <a:solidFill>
            <a:srgbClr val="D9D9D9"/>
          </a:solidFill>
          <a:ln w="19050">
            <a:solidFill>
              <a:srgbClr val="7F3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pt-BR" sz="1800" noProof="0"/>
          </a:p>
        </p:txBody>
      </p:sp>
      <p:pic>
        <p:nvPicPr>
          <p:cNvPr id="7" name="Picture 2" descr="Vetores de Ilustração Em Vetor De Uma Pessoa Abrindo Um ...">
            <a:extLst>
              <a:ext uri="{FF2B5EF4-FFF2-40B4-BE49-F238E27FC236}">
                <a16:creationId xmlns:a16="http://schemas.microsoft.com/office/drawing/2014/main" id="{001071DA-2976-E9C1-684D-ACBDAE843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3" y="1443134"/>
            <a:ext cx="4295189" cy="371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8813C87C-CFCC-E077-0CED-9431B2476C29}"/>
              </a:ext>
            </a:extLst>
          </p:cNvPr>
          <p:cNvSpPr txBox="1"/>
          <p:nvPr/>
        </p:nvSpPr>
        <p:spPr>
          <a:xfrm>
            <a:off x="1704889" y="2760656"/>
            <a:ext cx="1741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Envelope 3</a:t>
            </a:r>
          </a:p>
        </p:txBody>
      </p:sp>
    </p:spTree>
    <p:extLst>
      <p:ext uri="{BB962C8B-B14F-4D97-AF65-F5344CB8AC3E}">
        <p14:creationId xmlns:p14="http://schemas.microsoft.com/office/powerpoint/2010/main" val="1094828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animBg="1"/>
      <p:bldP spid="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6C202-9B10-F960-85FB-57287B8270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AF0BA7C-F43E-094D-BB7F-5AC301AFA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F0BA7C-F43E-094D-BB7F-5AC301AFA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D1C51B57-866B-EED4-9DB1-58B86084D20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3A91C0A-E719-283C-769E-70867110F8AB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D5FC1CA-E311-E057-96D7-D5313239ABDE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9EE0748-C668-EFAE-E6CE-81F5EE834464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1058090-B5D4-0BDA-77D5-3212B8E133BF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7B20CDF-0011-AF21-CC9F-1602E71DA2F7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A2D49D-072F-E41B-9ABE-9D6E185DC225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C8C49E3-C1E1-942D-1F2A-05BC7403439F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1122DB9-D58B-2BB1-B586-9112BA33D48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29F07AB-9F1A-B3EB-D051-1C32C56969E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065D1CB-E966-82F3-26A3-47F3D72D5C41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645BF0F-DE58-AC14-1734-D25211422D9A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DCCF682-7601-643F-57C8-24D2BB46DFCE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8AE837-2D36-DF93-F061-245DF3F6BCFF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534E6F0-E4E9-263E-E584-9FDD8C8E2ED8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BD878FA-13AF-48EA-04B5-B8CD601A748A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52D0EC8-6333-E6DD-19D0-919D28A15518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6F55F31-5B90-A20D-AFBE-1D5610ECFFAC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7A715C0-2261-B884-FBBF-1C37172CAD05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8C40EF1-F533-9516-2B12-E55A3B27887B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B43E239-F00D-074A-BC0F-0125D934D52E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F4318DE-1BD6-4D9D-6F78-79581009193C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333272B-F8BE-162D-3AD6-C7369AC8ABFD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DD82DCF-2D43-1343-0609-C8449FD05BC8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5A90097-4A6F-9920-8E70-8146071A3F71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D214D95-18DD-471C-4DAA-63111F99F2D2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E6C8B4A-5A30-6FED-24AA-023AA7307157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0D9D20D-2D33-67B5-B6F3-9B2790893516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9C110C9-35AC-610C-DF0F-719B4E9B39A9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1E55481-476F-90EF-4942-EFA0CA1E01FC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8E37876-F86C-5382-D501-87F6592A0417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EDCF21-5E6E-3155-F240-8FA48B1D4875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6151ABD-D5E6-C7E3-185A-4E719BAE4CC2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2D7B2B7-8DEA-BF3B-4EFC-83F28C9428E5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AC97B7A-4AF4-AE60-F63C-DC5B9F0AAC52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1E9EE1F-4444-2FFC-5A13-5F24EAAC085B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68B76A9-F566-7BC6-F36E-DC520D83C77B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ABA6B16-E36E-9088-D075-324B36E147FE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6C6D407-73B6-3054-458C-233364C50131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25F52CF-7D5F-0A12-7A59-DE0C1DE0DCC5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2E52578-C4D9-F961-2498-839DDA36FC9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A7E3D76-0895-7FB6-5DD1-3302AD9CDC6F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7880813-46CC-F74A-9C27-C89D0443A760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C32B82E5-3C87-9C5A-91C5-7BC9014DE270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46EBA389-A012-3903-52A9-C7DEA4AEC3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21A7FEA0-BC68-9125-72F6-652FA1B54954}"/>
              </a:ext>
            </a:extLst>
          </p:cNvPr>
          <p:cNvSpPr txBox="1"/>
          <p:nvPr/>
        </p:nvSpPr>
        <p:spPr>
          <a:xfrm>
            <a:off x="5417344" y="2647237"/>
            <a:ext cx="6774655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Esse quadro fecha critérios IRAS?</a:t>
            </a:r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endParaRPr lang="pt-BR" sz="3200" b="1" noProof="0" dirty="0">
              <a:solidFill>
                <a:srgbClr val="46326A"/>
              </a:solidFill>
            </a:endParaRPr>
          </a:p>
          <a:p>
            <a:pPr lvl="0" algn="ctr"/>
            <a:r>
              <a:rPr lang="pt-BR" sz="3200" b="1" noProof="0">
                <a:solidFill>
                  <a:srgbClr val="46326A"/>
                </a:solidFill>
              </a:rPr>
              <a:t>Qual?</a:t>
            </a:r>
            <a:endParaRPr lang="pt-BR" sz="3200" b="1" noProof="0" dirty="0">
              <a:solidFill>
                <a:srgbClr val="46326A"/>
              </a:solidFill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C2AD3641-2153-0123-7820-690B8F8225AC}"/>
              </a:ext>
            </a:extLst>
          </p:cNvPr>
          <p:cNvSpPr txBox="1"/>
          <p:nvPr/>
        </p:nvSpPr>
        <p:spPr>
          <a:xfrm>
            <a:off x="2519500" y="361172"/>
            <a:ext cx="193745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noProof="0"/>
              <a:t>Discussão</a:t>
            </a:r>
          </a:p>
        </p:txBody>
      </p:sp>
      <p:pic>
        <p:nvPicPr>
          <p:cNvPr id="65" name="Picture 6" descr="322 Stick Figure With Thought Bubble Stock Photos, Pictures &amp; Royalty-Free  Images - iStock">
            <a:extLst>
              <a:ext uri="{FF2B5EF4-FFF2-40B4-BE49-F238E27FC236}">
                <a16:creationId xmlns:a16="http://schemas.microsoft.com/office/drawing/2014/main" id="{865EFEAF-BB63-3D62-DF41-E836829B98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0" r="4427" b="3854"/>
          <a:stretch/>
        </p:blipFill>
        <p:spPr bwMode="auto">
          <a:xfrm>
            <a:off x="-1" y="1469478"/>
            <a:ext cx="4463143" cy="539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CaixaDeTexto 66">
            <a:extLst>
              <a:ext uri="{FF2B5EF4-FFF2-40B4-BE49-F238E27FC236}">
                <a16:creationId xmlns:a16="http://schemas.microsoft.com/office/drawing/2014/main" id="{6D1D06DE-F0C3-F933-E7B9-DE3E3B94DFF6}"/>
              </a:ext>
            </a:extLst>
          </p:cNvPr>
          <p:cNvSpPr txBox="1"/>
          <p:nvPr/>
        </p:nvSpPr>
        <p:spPr>
          <a:xfrm>
            <a:off x="-418381" y="2605459"/>
            <a:ext cx="6201408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pt-BR" sz="2800" b="1" noProof="0">
                <a:solidFill>
                  <a:srgbClr val="9DC457"/>
                </a:solidFill>
              </a:rPr>
              <a:t>E agora</a:t>
            </a:r>
            <a:r>
              <a:rPr lang="pt-BR" sz="3200" b="1" noProof="0">
                <a:solidFill>
                  <a:srgbClr val="9DC457"/>
                </a:solidFill>
              </a:rPr>
              <a:t>?</a:t>
            </a: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  <a:p>
            <a:pPr lvl="0" algn="ctr"/>
            <a:endParaRPr lang="pt-BR" sz="2400" noProof="0" dirty="0">
              <a:solidFill>
                <a:srgbClr val="9DC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0653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E4C74-19DF-0E2F-19C4-EF3231173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913C8AC-614A-BB15-2523-4BCFBD22A0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13C8AC-614A-BB15-2523-4BCFBD22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237ABB51-22BE-D090-3AE4-F7B9186BCE59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2289F3B-6EDC-E18F-3852-43964B1915BD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94DCF53-AD6D-4A23-AA26-C15CE54FA4E8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7080172-1403-9BD8-C812-5655D34295A3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D2C8437-43A4-19DD-1F0D-3F9947E96683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65BCFC1-F4F5-43A5-B914-0D1E28895231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2C8028E-BA9F-CD54-7D19-3B5CD40DA0AC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5FB966F-BE10-8216-372B-0654382CD1A7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938C1B0-977D-2C5F-BAA6-4627953D1186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EB64D1B-4919-1D27-A991-B48F6B6C2755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B94357B-8E2A-A94D-C686-392B51B9AEC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7DB9DC7-5745-4A87-526A-2E98811D9FC0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661DD0B-02D0-C84A-C7CA-9630936E5998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3371DF5-791D-BC52-9C04-0321F3B46E2F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6011CCB-55A3-F989-5B0C-AFB4E85F58F7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24C94D8-1A8F-E375-CB8A-A72D15BC19D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1D317E2-0375-C619-42A3-6A253DE31DC7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912850A-594D-E276-671C-85AE2EEAD44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88C6525-6D11-0D15-95BE-A9B248BB8104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2BCA512-EA93-5BCE-BB36-5A51A8D2D7B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61A8334-8B15-22CA-B204-5DC13F449B2C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356EAEF-0C1F-0A2C-B8D4-D0809D1D7F57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D36A5E-C489-BF57-FAAF-63066ECB862B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9FCAEB0-570B-51CA-2125-0B53FDC5985B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E43F15D-605C-8C33-9D94-7ADC6F99A287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352495B-12CF-CE90-A277-C8FE7FD8AD8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F0FB739-F8A2-E445-A8D5-393B86A155E2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F7276D5-8006-1CB1-C590-5B334BCEC255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82FA7E0-88FB-E8EA-E0EE-704D4623F42C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0527A80-4113-C080-3446-80496B239A0B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EFCC563-C3E0-079C-BDB9-918B5F9B716D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BB5E35C-BD7B-4C14-CF68-3A33B33BDB5F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3832876-0C46-8DCB-FCE3-AD57DCE32955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C849F2D-7C63-DD42-3179-883BF50C73D6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1F1C8E6-C041-F181-AE4B-6D651EEC6BC9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828BF73-BF85-EDC6-99DB-81BEAA553506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6332F70-25DC-1F36-B381-A83BA56AC26C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DD0CB59-C907-28F3-1836-62ED7225190A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234D60F9-6748-A0F8-6089-3D834C11A2DD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784BEC1-DDF7-8ACD-1CAD-6B05F84B40ED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C0B8432-C97F-789E-ADDC-FA96E36DB8A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99DD621-17E2-9199-A0D6-A57BDDCC9DA2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1EA4F8A-524B-51A3-FA7F-A37B79657B95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C996B564-4131-E6F9-8F63-7B1B235F2E9E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D69B3C04-2E02-B63C-B1CF-E5BB291A3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D33DD46-B40B-C5ED-EB92-698DD7F23579}"/>
              </a:ext>
            </a:extLst>
          </p:cNvPr>
          <p:cNvSpPr txBox="1"/>
          <p:nvPr/>
        </p:nvSpPr>
        <p:spPr>
          <a:xfrm>
            <a:off x="2447581" y="218322"/>
            <a:ext cx="4620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noProof="0"/>
              <a:t>Critérios IPCSC (sepse clínica)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2C896E5-BE6E-513E-DAAA-309C9FF27C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282" y="929496"/>
            <a:ext cx="9759890" cy="5832893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EC0DB87E-0D6C-3BFA-F566-74CCEC8330A6}"/>
              </a:ext>
            </a:extLst>
          </p:cNvPr>
          <p:cNvSpPr txBox="1"/>
          <p:nvPr/>
        </p:nvSpPr>
        <p:spPr>
          <a:xfrm>
            <a:off x="7979966" y="1560591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B5FD293-AB60-335D-A193-B4641A7281A4}"/>
              </a:ext>
            </a:extLst>
          </p:cNvPr>
          <p:cNvSpPr txBox="1"/>
          <p:nvPr/>
        </p:nvSpPr>
        <p:spPr>
          <a:xfrm>
            <a:off x="7954087" y="3432523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3" name="CaixaDeTexto 61">
            <a:extLst>
              <a:ext uri="{FF2B5EF4-FFF2-40B4-BE49-F238E27FC236}">
                <a16:creationId xmlns:a16="http://schemas.microsoft.com/office/drawing/2014/main" id="{440D703F-CDD7-B9F3-F6B4-3BD57C3BD1B9}"/>
              </a:ext>
            </a:extLst>
          </p:cNvPr>
          <p:cNvSpPr txBox="1"/>
          <p:nvPr/>
        </p:nvSpPr>
        <p:spPr>
          <a:xfrm>
            <a:off x="7965589" y="6060704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4" name="CaixaDeTexto 61">
            <a:extLst>
              <a:ext uri="{FF2B5EF4-FFF2-40B4-BE49-F238E27FC236}">
                <a16:creationId xmlns:a16="http://schemas.microsoft.com/office/drawing/2014/main" id="{25E35E56-0C73-84E9-3FAF-58B27CCD2D3C}"/>
              </a:ext>
            </a:extLst>
          </p:cNvPr>
          <p:cNvSpPr txBox="1"/>
          <p:nvPr/>
        </p:nvSpPr>
        <p:spPr>
          <a:xfrm>
            <a:off x="7965589" y="5111798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5" name="CaixaDeTexto 61">
            <a:extLst>
              <a:ext uri="{FF2B5EF4-FFF2-40B4-BE49-F238E27FC236}">
                <a16:creationId xmlns:a16="http://schemas.microsoft.com/office/drawing/2014/main" id="{900026FA-FC32-EDBE-8DC9-5BB84DBDA2D2}"/>
              </a:ext>
            </a:extLst>
          </p:cNvPr>
          <p:cNvSpPr txBox="1"/>
          <p:nvPr/>
        </p:nvSpPr>
        <p:spPr>
          <a:xfrm>
            <a:off x="7965588" y="4709231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67" name="CaixaDeTexto 61">
            <a:extLst>
              <a:ext uri="{FF2B5EF4-FFF2-40B4-BE49-F238E27FC236}">
                <a16:creationId xmlns:a16="http://schemas.microsoft.com/office/drawing/2014/main" id="{8B47578F-32DB-B770-A475-B12CD6D92F99}"/>
              </a:ext>
            </a:extLst>
          </p:cNvPr>
          <p:cNvSpPr txBox="1"/>
          <p:nvPr/>
        </p:nvSpPr>
        <p:spPr>
          <a:xfrm>
            <a:off x="7936832" y="4321042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  <a:endParaRPr lang="pt-BR" sz="2400" b="1">
              <a:solidFill>
                <a:srgbClr val="C00000"/>
              </a:solidFill>
              <a:ea typeface="Calibri"/>
              <a:cs typeface="Calibri"/>
            </a:endParaRPr>
          </a:p>
        </p:txBody>
      </p:sp>
      <p:sp>
        <p:nvSpPr>
          <p:cNvPr id="68" name="CaixaDeTexto 61">
            <a:extLst>
              <a:ext uri="{FF2B5EF4-FFF2-40B4-BE49-F238E27FC236}">
                <a16:creationId xmlns:a16="http://schemas.microsoft.com/office/drawing/2014/main" id="{0CDB414A-913A-6DFE-EE9E-8A38EF92EC6B}"/>
              </a:ext>
            </a:extLst>
          </p:cNvPr>
          <p:cNvSpPr txBox="1"/>
          <p:nvPr/>
        </p:nvSpPr>
        <p:spPr>
          <a:xfrm>
            <a:off x="7951208" y="5384966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  <a:endParaRPr lang="pt-BR" sz="2400" b="1">
              <a:solidFill>
                <a:srgbClr val="C00000"/>
              </a:solidFill>
              <a:ea typeface="Calibri"/>
              <a:cs typeface="Calibri"/>
            </a:endParaRPr>
          </a:p>
        </p:txBody>
      </p:sp>
      <p:sp>
        <p:nvSpPr>
          <p:cNvPr id="69" name="CaixaDeTexto 61">
            <a:extLst>
              <a:ext uri="{FF2B5EF4-FFF2-40B4-BE49-F238E27FC236}">
                <a16:creationId xmlns:a16="http://schemas.microsoft.com/office/drawing/2014/main" id="{88C983E5-3C0D-B7EB-6D10-EC1AEA1D1C7B}"/>
              </a:ext>
            </a:extLst>
          </p:cNvPr>
          <p:cNvSpPr txBox="1"/>
          <p:nvPr/>
        </p:nvSpPr>
        <p:spPr>
          <a:xfrm>
            <a:off x="7965585" y="5658135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b="1">
                <a:solidFill>
                  <a:srgbClr val="C00000"/>
                </a:solidFill>
              </a:rPr>
              <a:t>x</a:t>
            </a:r>
            <a:endParaRPr lang="pt-BR" sz="2400" b="1">
              <a:solidFill>
                <a:srgbClr val="C00000"/>
              </a:solidFill>
              <a:ea typeface="Calibri"/>
              <a:cs typeface="Calibri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3D18195D-B1A5-6FE3-7025-DB27095EA000}"/>
              </a:ext>
            </a:extLst>
          </p:cNvPr>
          <p:cNvSpPr/>
          <p:nvPr/>
        </p:nvSpPr>
        <p:spPr>
          <a:xfrm>
            <a:off x="3677175" y="999689"/>
            <a:ext cx="69907" cy="3705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2C9B4D7-3FBA-6D45-27B4-B5AFCF5D34D3}"/>
              </a:ext>
            </a:extLst>
          </p:cNvPr>
          <p:cNvSpPr txBox="1"/>
          <p:nvPr/>
        </p:nvSpPr>
        <p:spPr>
          <a:xfrm>
            <a:off x="7952689" y="2256666"/>
            <a:ext cx="264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>
                <a:solidFill>
                  <a:srgbClr val="C0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391414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1" grpId="0"/>
      <p:bldP spid="63" grpId="0"/>
      <p:bldP spid="64" grpId="0"/>
      <p:bldP spid="65" grpId="0"/>
      <p:bldP spid="67" grpId="0"/>
      <p:bldP spid="68" grpId="0"/>
      <p:bldP spid="69" grpId="0"/>
      <p:bldP spid="7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07D18-E80C-A5F0-4326-F9F7559656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65819C1-977D-F3E9-5B77-A12D7EC337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5819C1-977D-F3E9-5B77-A12D7EC33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B258326D-7537-0B4B-7FF4-F197CBAAA07E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520F25-F89D-4DAE-60D0-93AE6BDFDAD3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BAC3145-7C27-A227-40F5-34EA0545FF5B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B6CCD91-162F-068A-0DE0-2E6F7169BB1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41D514-8CF5-FFBF-7A7F-CB3421EC1B0C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7F925E1-B6F9-2C1E-4008-C78BBA3F45DF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0176F3F-4720-B105-900B-361A2CFDD6BA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0CBE936-211A-9D4C-C7A1-0A3291191DDA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2DCC2B4-2D63-7A60-D2E7-DCFF280DE27D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DF8726D-0DC5-E107-1E5B-928A31CCD10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F15FB98-FFA6-2D15-1A1A-FC3882D13EF4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A4CA4A7-A726-D945-147A-30C11E8992EC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DC47A96-25FB-6F8C-7B42-9F93BD6FFDE7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2B37D9-C5D0-23F8-A9F1-1C4A577B3DD1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A4B381F-9793-830E-C823-24D63D5BFBEB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C20736E-4D70-B7DD-D797-C47609FAAA9A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EF54042-D80F-7CE0-C32D-5F15780A77BD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280378C-4D3D-B19E-A809-F1653F027FD6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F71474C-2A02-FF3A-E828-4940346C1F03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097908A-3670-D2E3-854B-F09129696D28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CCF8BF5-D8C7-1C82-21EF-8BAC841830C0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30EC30D-2253-E3DE-6230-CD40D9A4A3BD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4C2EDD2-0EBA-25D0-B135-1191AD240AE3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734E36D-228F-3C04-9213-2DC96005D399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328219A-254D-FAF2-30E2-21950CDB58BE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8C7939-B472-A365-53D2-F1DE127F23E2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473168A-7285-D0E7-B64E-3EFAE6B7EF56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3922114-4541-C011-E2BD-62265580304D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00B38B6-7EF9-8FD7-5DDC-03B5CEFC7AD1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1C443ED-8824-2154-4CD0-FD15D7E0F929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57B3FFA-A6B1-C11F-1074-56B7ADCB7DC7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339C7CF-A37B-BE26-DA7D-273739C2F8A4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B717597-2176-48B9-DB40-AD9518A2F9F8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5E3A07E-BC17-6228-247F-B95D2A5D5C7F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087075B-1281-AFE6-CFAA-4A533B1DA02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C59F09E-A664-0FC9-BC2D-36678B47E7E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846F73E-15F0-11E5-D7F3-7A34E929D5B7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71B8016-9E3B-DAEE-143D-23BF9CACB128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CE88B5-835B-BB98-88F6-D8DC4D7C877E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CAF4214-6D72-8FA0-6871-10CFE9F18A44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A4CA547-3FB9-7A8C-182D-8F0F9B82FD46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7177F01-AA49-90C6-A44E-94114000B31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E4AC81B-88AF-14C3-24BB-ABDA174208F0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5490A15-F497-18DC-0816-C018B2D975E1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/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7FFD19F6-3AF4-66AA-19B9-A55C7BF7E9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153" y="692497"/>
            <a:ext cx="26481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8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noProof="0">
              <a:latin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06652B6-2345-F4F7-FBDC-35D99566062D}"/>
              </a:ext>
            </a:extLst>
          </p:cNvPr>
          <p:cNvSpPr txBox="1"/>
          <p:nvPr/>
        </p:nvSpPr>
        <p:spPr>
          <a:xfrm>
            <a:off x="2447581" y="218322"/>
            <a:ext cx="3022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/>
              <a:t>Resultado caso 3</a:t>
            </a:r>
            <a:endParaRPr lang="pt-BR" sz="2400" b="1" noProof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365F8F3-8DBB-5BFD-56A3-41A4E3D1FC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31384">
            <a:off x="2770952" y="366191"/>
            <a:ext cx="6259935" cy="6377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CaixaDeTexto 63">
            <a:extLst>
              <a:ext uri="{FF2B5EF4-FFF2-40B4-BE49-F238E27FC236}">
                <a16:creationId xmlns:a16="http://schemas.microsoft.com/office/drawing/2014/main" id="{84DFCDFD-C719-03F4-62D6-45DDA62DE2C0}"/>
              </a:ext>
            </a:extLst>
          </p:cNvPr>
          <p:cNvSpPr txBox="1"/>
          <p:nvPr/>
        </p:nvSpPr>
        <p:spPr>
          <a:xfrm rot="20061419">
            <a:off x="2823202" y="3200874"/>
            <a:ext cx="62493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000" b="1" noProof="0">
                <a:solidFill>
                  <a:srgbClr val="FF0000"/>
                </a:solidFill>
              </a:rPr>
              <a:t>IPCS por definição clínica </a:t>
            </a:r>
            <a:br>
              <a:rPr lang="pt-BR" sz="2000" b="1" noProof="0">
                <a:solidFill>
                  <a:srgbClr val="FF0000"/>
                </a:solidFill>
              </a:rPr>
            </a:br>
            <a:r>
              <a:rPr lang="pt-BR" sz="2000" b="1" noProof="0">
                <a:solidFill>
                  <a:srgbClr val="FF0000"/>
                </a:solidFill>
              </a:rPr>
              <a:t>(sepse clínica)</a:t>
            </a:r>
            <a:endParaRPr lang="pt-BR" sz="2400" b="1" noProof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0162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593750-A2C5-FB18-3DFD-5D1F884215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96374A6E-A54A-6F9C-0A83-57C4EEA21FF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083EB347-5076-B994-DCFD-9951A699F1A5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B269CBC1-8788-FE1D-DA3D-B66AE11852BE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5193A2FD-9052-D700-708D-BAA2CECC8896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E4D0CB45-6E6E-007D-4E28-F09AC6D67B77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3FF598DD-CF0B-CC4F-BD6C-E508C72AAD14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627CFEFB-65FB-77E4-67FD-C9B78E73F39D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CD4771FF-BD0D-4889-AE03-00C0A573C0A9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882E40CF-2478-5254-B6E9-09CC4ACA45DA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FE388B1E-6939-14C3-FE1C-7686C6238796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260954E4-426A-F95A-2EE8-CA3243321989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BA8CBCA8-FD5C-2D4E-8175-57CF4D9B57F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4610BBD8-0AAF-917D-E1C2-3D4FC22D671A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2EF050AE-3BF4-8D4A-91D3-C5A270B749EA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834503C8-C9CB-1B06-A136-93624D4935B7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528F6C15-41A4-DE80-1E45-333FF3EFF0AA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4C4EE99C-27CC-6451-F37B-D97F552B41D1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A0B4964D-6D76-C365-0513-C7D76C3BCB1C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969D96B9-E4E0-84E7-7CAC-3D805E995E58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AB35386C-BB67-80E1-506D-F54CD042FA81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6F2BDA94-4426-EDB3-601C-93787FC53EB6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5EB963A6-5F0C-D03D-D99B-B4968ECF9ECC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2D171B4B-DEAC-7F29-432D-7AAEC6E214B9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62710DCD-EAC0-129C-4EAD-B955853C43AB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EF0B1A9F-2AB1-15CE-6090-85EDB9A2F47A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CD159A13-817C-276D-4440-3D512D2851A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B1D8FBFE-EBAD-BA54-F0A5-217DEC9F16B0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174E6156-5647-0322-B8AA-077E85437BD1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00C22360-49C5-B6F3-A14B-EDE9902D16D4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A733598B-BD90-F4B4-9637-DCF2A24B1D78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442A7F94-4B77-6D82-F26E-CA05C472904F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117705BD-F0F8-1501-5755-F824DF174AF6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9B03CDEE-19E8-3E10-A8D9-6B550D6D20F4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D7D7D6E7-2DE6-DDA2-AB6E-EC3BD3FFE79E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2BF0D2BE-05FA-FCF1-39B2-212C51AA92AB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48337378-A7F5-2A36-D80F-AA6111B0449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1EC81B03-5F73-0391-38C7-4EBAECA238DB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75BADB3E-FB74-7371-93DA-B21553CD5BF2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879FDE98-9ECB-ABF9-6BC0-7B3C5D1A1569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EBA159C1-B234-AD29-1702-485E0AE70C3A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41DD4817-3DC5-E75E-BE28-315D579E2D4A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5B63D131-7D04-0B06-D3BC-AF6501DA0305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97DA3A7D-6F53-CD9D-712F-B91444A89963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9402F339-FA7D-F139-07CC-9D7899594B23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1961BD93-4CD1-BC2B-8921-5000D408DB05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nsiderações</a:t>
            </a:r>
          </a:p>
        </p:txBody>
      </p:sp>
      <p:sp>
        <p:nvSpPr>
          <p:cNvPr id="95" name="Google Shape;97;p15">
            <a:extLst>
              <a:ext uri="{FF2B5EF4-FFF2-40B4-BE49-F238E27FC236}">
                <a16:creationId xmlns:a16="http://schemas.microsoft.com/office/drawing/2014/main" id="{2DAE2DBF-BB8B-0F84-680B-C9E7DFC2C54E}"/>
              </a:ext>
            </a:extLst>
          </p:cNvPr>
          <p:cNvSpPr txBox="1">
            <a:spLocks/>
          </p:cNvSpPr>
          <p:nvPr/>
        </p:nvSpPr>
        <p:spPr>
          <a:xfrm>
            <a:off x="865903" y="1851751"/>
            <a:ext cx="1051571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&gt; 28 dias internado em UTI </a:t>
            </a:r>
            <a:r>
              <a:rPr lang="pt-BR" b="1" dirty="0" err="1"/>
              <a:t>neo</a:t>
            </a:r>
            <a:r>
              <a:rPr lang="pt-BR" b="1" dirty="0"/>
              <a:t>: </a:t>
            </a:r>
            <a:r>
              <a:rPr lang="pt-BR" dirty="0"/>
              <a:t>aplica-se o critério diagnóstico NEO</a:t>
            </a:r>
            <a:endParaRPr lang="pt-BR" dirty="0">
              <a:ea typeface="Calibri"/>
              <a:cs typeface="Calibri"/>
            </a:endParaRPr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r>
              <a:rPr lang="pt-BR"/>
              <a:t>Sintomas presentes no dia da inserção do dispositivo ou da admissão </a:t>
            </a:r>
            <a:r>
              <a:rPr lang="pt-BR" b="1"/>
              <a:t>(D1) não estão associados à IRAS</a:t>
            </a:r>
            <a:r>
              <a:rPr lang="pt-BR"/>
              <a:t>, mesmo que estejam dentro do período de janela de infecção            Importância da avaliação e equipe assistencial</a:t>
            </a:r>
            <a:endParaRPr lang="pt-BR">
              <a:ea typeface="Calibri"/>
              <a:cs typeface="Calibri"/>
            </a:endParaRPr>
          </a:p>
          <a:p>
            <a:pPr indent="-215265" algn="just">
              <a:buClr>
                <a:prstClr val="black"/>
              </a:buClr>
              <a:buSzPct val="100000"/>
            </a:pPr>
            <a:endParaRPr lang="pt-BR" b="1" dirty="0">
              <a:ea typeface="Calibri" panose="020F0502020204030204"/>
              <a:cs typeface="Calibri" panose="020F0502020204030204"/>
            </a:endParaRPr>
          </a:p>
          <a:p>
            <a:pPr indent="-215265" algn="just">
              <a:buClr>
                <a:schemeClr val="dk1"/>
              </a:buClr>
              <a:buSzPct val="100000"/>
            </a:pPr>
            <a:r>
              <a:rPr lang="pt-BR" b="1" dirty="0"/>
              <a:t>Critério clínico vs. epidemiológico: </a:t>
            </a:r>
            <a:r>
              <a:rPr lang="pt-BR" dirty="0"/>
              <a:t>o diagnóstico de infecção pela equipe assistencial não é suficiente para definir IRAS</a:t>
            </a:r>
            <a:endParaRPr lang="pt-BR" b="1" dirty="0"/>
          </a:p>
          <a:p>
            <a:pPr indent="-215265" algn="just"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buClr>
                <a:schemeClr val="dk1"/>
              </a:buClr>
              <a:buSzPct val="100000"/>
            </a:pPr>
            <a:r>
              <a:rPr lang="pt-BR" b="1" dirty="0"/>
              <a:t>IPCS (Sepse clínica): </a:t>
            </a:r>
            <a:r>
              <a:rPr lang="pt-BR" dirty="0"/>
              <a:t>somente na NEO é possível fechar IPCS pelo critério clínico (sem resultado de HMC)</a:t>
            </a:r>
            <a:endParaRPr lang="pt-BR" sz="18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Seta: para a Direita 47">
            <a:extLst>
              <a:ext uri="{FF2B5EF4-FFF2-40B4-BE49-F238E27FC236}">
                <a16:creationId xmlns:a16="http://schemas.microsoft.com/office/drawing/2014/main" id="{2A280D1F-DCBA-5C28-A01A-F188850DA9E6}"/>
              </a:ext>
            </a:extLst>
          </p:cNvPr>
          <p:cNvSpPr/>
          <p:nvPr/>
        </p:nvSpPr>
        <p:spPr>
          <a:xfrm>
            <a:off x="3795059" y="3145116"/>
            <a:ext cx="522940" cy="28388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028952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7B514-2F65-3507-B930-69E8665BB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BD03EE00-2803-82E0-2966-7E700692CF25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702F267C-3941-BA3C-2684-8AEEDA68298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752218EB-B538-79CD-AE87-DA4DAD3494A9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84314CB4-8926-DF5C-A8E5-C532F4944F41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7665EE4E-FD61-036B-4C8F-5427510ABDE1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8FEB8DE5-FB5B-ECE5-F90B-D38A770C609F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A49B678B-F8C0-7058-93B1-FE58F3A60A6B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54BC1303-482E-933E-24CB-79331FB52A5E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F9469A67-2A20-063A-5D47-FFE8F5D66FAB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36D1CC95-5409-9A65-226F-FCF832DBC55A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207CE17C-587E-4F6F-92DE-88FFBABC862D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8BB484B3-8A79-30D6-9EEA-93531E0C88F4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69AB0B8E-86F4-30E0-477E-AE075C664592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3FB384E7-D976-7DE8-2F13-6EEA212F99DF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9825944E-5103-4964-D715-E5F6AC125442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4DF7A4E4-52A1-5CC4-0A99-DD83DFCF46ED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06101303-C129-885B-27F4-13EF49E98F3F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BFFD8D0E-DF7C-1ECA-9155-4C4FAD5FD018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668B1387-DB2B-379E-864D-1F66F19BB4AB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F2EAE32D-3D95-879B-240C-C6A5C5405E6A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13CDC6AC-C089-942C-5DBA-81E2483B3EC6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516751D0-2CEB-098E-6C81-9E18774B1D86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C832EE96-6AAC-BB0E-FDD9-C4AFF00743B0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B092E3B1-244B-141E-5C9E-B9182CD190AD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DF020027-454D-C255-7F2C-BA045E39BCF6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A7ABABDE-456B-2FEC-B10D-979295D7BC22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8E530456-D85A-B459-A1A3-1133090E52BB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811A123C-F7E4-576F-6737-FF898B0E528A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702FFDB2-A11C-6241-D210-3E18204D7B09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B407E2C8-C9FF-AECF-E625-D1700EA4C1C2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31DD8D80-51F8-D068-3D1A-EA82992E5215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A176CCB3-7C11-26C5-17C1-36E29FDDBE80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380CCDFC-7FA8-2EBF-FC6B-2BCDFE92844E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83BD3C15-768C-BB88-B41B-0905C27745FA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32E3EA2B-9461-EF84-2875-52521C8C992D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6F4A9E9D-FA84-CA6F-6EBC-725A0E8A2B6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72D29853-EE62-D084-33D9-13FC02384276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CE5822E4-8327-D54B-680C-DB648B1F35A1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3C0CC70A-7DB1-A30A-BBD1-397E8AB0D3E3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A678F999-94C2-C384-A630-F89CE6ED25F8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DE526A84-57BB-EB16-AD9A-0D18A2155CFD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7BDD6B3A-877F-0F36-7195-A8122398BB56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5000FEC8-0C2D-23DB-00F3-59652D428DAB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B86B4F3D-A026-8103-4E0D-7505488C4AFE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A003B4A5-24B7-24B2-301A-479D4807E47B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nsiderações – PAV </a:t>
            </a:r>
          </a:p>
        </p:txBody>
      </p:sp>
      <p:sp>
        <p:nvSpPr>
          <p:cNvPr id="62" name="Google Shape;97;p15">
            <a:extLst>
              <a:ext uri="{FF2B5EF4-FFF2-40B4-BE49-F238E27FC236}">
                <a16:creationId xmlns:a16="http://schemas.microsoft.com/office/drawing/2014/main" id="{BFE6851A-5164-CC1D-A9F5-39BA03685DBC}"/>
              </a:ext>
            </a:extLst>
          </p:cNvPr>
          <p:cNvSpPr txBox="1">
            <a:spLocks/>
          </p:cNvSpPr>
          <p:nvPr/>
        </p:nvSpPr>
        <p:spPr>
          <a:xfrm>
            <a:off x="718522" y="1884649"/>
            <a:ext cx="1088996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Doença pulmonar de base: </a:t>
            </a:r>
            <a:r>
              <a:rPr lang="pt-BR"/>
              <a:t>necessários 2 exames de imagem alterados</a:t>
            </a:r>
            <a:r>
              <a:rPr lang="pt-BR" dirty="0"/>
              <a:t> para definir PAV. </a:t>
            </a:r>
          </a:p>
          <a:p>
            <a:pPr marL="13335" indent="0" algn="just">
              <a:spcBef>
                <a:spcPts val="0"/>
              </a:spcBef>
              <a:buClr>
                <a:schemeClr val="dk1"/>
              </a:buClr>
              <a:buSzPct val="100000"/>
              <a:buNone/>
            </a:pPr>
            <a:endParaRPr lang="pt-BR" b="1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Parâmetros ventilatórios alterados: </a:t>
            </a:r>
            <a:r>
              <a:rPr lang="pt-BR" dirty="0"/>
              <a:t>por pelo menos 2 dias (persistente).</a:t>
            </a:r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Mudança na secreção respiratória (cor, consistência, odor e quantidade): </a:t>
            </a:r>
            <a:r>
              <a:rPr lang="pt-BR" dirty="0"/>
              <a:t>registro único não é indicativo de mudança.</a:t>
            </a:r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/>
              <a:t>PAV em NEO: </a:t>
            </a:r>
            <a:r>
              <a:rPr lang="pt-BR"/>
              <a:t>definição clínica.</a:t>
            </a:r>
            <a:endParaRPr lang="pt-BR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7912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94C6AF3-C7CC-63CB-E71B-C35269DF6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66DC0DC8-E071-07CF-5D1E-0DDBA56FFB63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D9519D3C-93EE-CE98-D3BE-EE5A6ED17A1D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006F7167-8468-BD54-6521-27719B93E5D4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C19CEBBD-A7BC-359F-F5B2-DAF5F5D8CA03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1D30A2E7-7AD9-D7E9-1C80-1D07AE159C15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506D26D9-7A0C-A897-C72E-3EB9CAED3E9C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A43D5610-F42D-C2BB-88DE-C3EC6A05BEB8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26709703-7A62-4847-4FA8-A0BB790F5D4C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4C59D6F7-0555-1BEE-E7AD-21EED0900DE5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786CEA97-EC9E-8BCC-2ACA-7FFC95BF9A25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2A82B2EF-F0C0-0674-257D-02C1DB43E2A5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4BF84058-A776-57F0-4F58-4E7A8A230799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41F73132-3F7E-962A-AC0B-F1A9CF491999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D92AC96C-C852-83D3-72C2-A080EB8537BA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C0948B74-39CB-CBC1-E916-84D7D51FAAEE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6D7C0FA9-B967-51C9-F51F-FE81D1929B76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5EFFD557-AED3-A78F-908E-97C22E982B8C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03710F52-3B60-A4F3-4270-4B2C2FF2D0D0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83363EBC-D7F0-4DC9-706E-EC27A25D5D27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005099C2-4200-6D8C-729B-EE14D175EA98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51359FE1-A944-39D1-D629-5A0A3E368130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5DB12F4B-AA1D-9FAB-BD48-E007E93C49E7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47BA837A-1D29-82A2-8360-9400627AC7D4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987DF92E-6BD8-8957-A5B9-985E4D2F1DA8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0A58BEFD-A169-B27B-2F22-8AF38B93F251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822EC496-F1C8-D2B1-217D-2D2B59BF1F97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EDB124D1-BB86-6C27-1A71-210E218A9196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06594537-39B8-2EF1-4D91-A90DD0D40DC5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88D2E967-E38C-120A-791E-AC760B342D3F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FE7F7191-4A45-6853-C30A-4FA7C22CAFDF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41D8789C-CE2C-98C1-D64F-DB43B08C5483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AAA2C014-5553-BBDB-8F1A-00C177A5DD4E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E7232F10-D0FF-A5A1-FF75-3F3594C2047B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24F54AD0-73F9-06CD-1225-FEC78CE32FA4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9A74A355-DECC-6A36-CF35-64D0E78F4A4F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739F00ED-CCE6-3797-A629-80991CC8A9DD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A88AE843-9367-DDAC-AB31-CE81E6D2FEEF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B7DD241D-BD42-904E-092E-0BD0F2218A3D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87640D12-5990-DB87-99E8-8A2020844DA2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0499822B-9016-1DBF-CC7E-0330292E4F65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B6E089EF-C81F-A562-B56B-7A086E7C680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707627B9-0728-C7C6-2838-0FA7C57DEEF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B2E4F29C-51E4-4943-D294-65DC523D25C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0C115359-804B-355F-F337-F39864B0C2D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288DBC2F-37B4-E14B-CD75-EB53AE9907BC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>
                <a:solidFill>
                  <a:srgbClr val="3299B1"/>
                </a:solidFill>
                <a:latin typeface="Agency FB"/>
              </a:rPr>
              <a:t>Dinâmica - Explicação</a:t>
            </a:r>
            <a:endParaRPr lang="pt-BR" sz="3600" b="1" dirty="0">
              <a:solidFill>
                <a:srgbClr val="3299B1"/>
              </a:solidFill>
              <a:latin typeface="Agency FB" panose="020B0503020202020204" pitchFamily="34" charset="0"/>
            </a:endParaRPr>
          </a:p>
        </p:txBody>
      </p:sp>
      <p:pic>
        <p:nvPicPr>
          <p:cNvPr id="47" name="Imagem 46" descr="Tabela&#10;&#10;O conteúdo gerado por IA pode estar incorreto.">
            <a:extLst>
              <a:ext uri="{FF2B5EF4-FFF2-40B4-BE49-F238E27FC236}">
                <a16:creationId xmlns:a16="http://schemas.microsoft.com/office/drawing/2014/main" id="{873ACAE3-77A6-6A03-8529-A13D3C1D2E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0223" y="1462065"/>
            <a:ext cx="8791554" cy="459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523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405EE-A84A-82B4-84C0-A713086438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FBB8AEE5-E784-C058-41CB-B522BD36BB9A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0638F787-0C3E-00B7-0FD7-37C7301389A1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0E56AA17-DBFD-467B-BAD9-6649733BD5F5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D679C0D1-C11F-EEFF-5CA7-E4A0F0DA7FFE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ECF93F16-6AA6-53CF-BCBE-C01F8D642AB1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5E9F3372-0B66-D060-B914-24A2E403852C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FE37D50F-1720-7C01-08C9-8CC69924A3E1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CB4029C5-8231-E0D1-8B59-B23976A9B88B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58644BBA-848C-6C7D-9983-AACB11FF1180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9EF1DD6C-FF1E-A42A-1E07-3DE271DE3C60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98344D83-CC04-524C-135B-FC56107D680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3DF05A25-2EC4-D1FE-CD6A-2A0FA552340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64FF132C-786E-8790-727C-C82EDB203D67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70C3C92F-3D42-99FA-6B06-2CF5AD625925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6D11DB5E-B368-ACBF-A545-47492872B460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FA483A0D-EC2B-0AA0-F6B5-17314E5C99CF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C05394C8-3081-70CF-9BF9-2693ACB1339B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A1D1428E-3C57-CC01-8772-4C20EFC35E6C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F158CE1F-B299-BF32-687C-C89B3EC2C2C3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D7867D6F-2D3F-070E-CC95-5EB6EFBCFEE3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D12DA843-60F3-DBBA-BE2C-00BC49805529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ACED4A19-15DB-33B7-B1E6-5B17F3A7CC92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B7B1C9BA-E46C-46A7-B0AB-90817C4CB01C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23BD4C39-0FDC-680D-F3AA-A144A2D83112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55E01144-AAEA-B0F4-66EA-ADD56BC977A5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117D169F-CA99-B4EF-1B8C-2EC992C9DB6C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868294D9-8777-C53E-5216-F84702DDF16B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4A232854-B491-22E7-1D48-87953E30B07B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47954333-E4F0-C1DE-2E3E-219F10C414C6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D5865783-252A-576A-C1C8-73CA5BE8E77E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D95749FC-15DC-61A7-AFB7-8BAF62F53D53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61F7907F-D582-648D-47C4-5A873DB91DCF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42FE6E20-221D-1C32-42AC-CB3B0A0FD8D3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761F0C71-9074-37DE-09DC-400455D58022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5A004254-A7F5-9F67-AEDC-DC04F022C2D1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502569CD-C20D-75A6-2E28-F81C7AB30091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7603F1E1-7261-709B-1F60-CA9483403F07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B4795FEA-85AC-A8B0-D6EA-89746FDF65AB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8A92E72C-4BFB-4F8C-BE4E-E329514811EE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70BB5A63-5790-1012-5E60-4A7525C1FD02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63B3349C-105F-C466-FC06-A4DB4C999273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F148DD7B-3C1A-00B2-1C02-9A7FEF46F054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18FA413E-A1AC-CEEB-F3D7-7A1034C84C9E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F841D9F9-BFD3-4633-5739-327F1F90D12C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C71521D6-3E4D-3706-60CE-28BDB03F3F23}"/>
              </a:ext>
            </a:extLst>
          </p:cNvPr>
          <p:cNvSpPr txBox="1">
            <a:spLocks/>
          </p:cNvSpPr>
          <p:nvPr/>
        </p:nvSpPr>
        <p:spPr>
          <a:xfrm>
            <a:off x="3861210" y="3113384"/>
            <a:ext cx="3578939" cy="631231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5800" b="1" dirty="0">
                <a:solidFill>
                  <a:srgbClr val="3299B1"/>
                </a:solidFill>
                <a:latin typeface="Agency FB" panose="020B0503020202020204" pitchFamily="34" charset="0"/>
              </a:rPr>
              <a:t>Dúvidas</a:t>
            </a:r>
            <a:endParaRPr lang="pt-BR" sz="3600" b="1" dirty="0">
              <a:solidFill>
                <a:srgbClr val="3299B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37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F98-26DD-5C5E-7C2F-96B0C6DE9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Retângulo 1040">
            <a:extLst>
              <a:ext uri="{FF2B5EF4-FFF2-40B4-BE49-F238E27FC236}">
                <a16:creationId xmlns:a16="http://schemas.microsoft.com/office/drawing/2014/main" id="{D0E5C825-3087-6145-2C48-7B01CA543D9F}"/>
              </a:ext>
            </a:extLst>
          </p:cNvPr>
          <p:cNvSpPr/>
          <p:nvPr/>
        </p:nvSpPr>
        <p:spPr>
          <a:xfrm>
            <a:off x="1" y="1163740"/>
            <a:ext cx="12192000" cy="4958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62D5B49-1C89-A6BF-69CF-A7278D144B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2D5B49-1C89-A6BF-69CF-A7278D144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>
            <a:extLst>
              <a:ext uri="{FF2B5EF4-FFF2-40B4-BE49-F238E27FC236}">
                <a16:creationId xmlns:a16="http://schemas.microsoft.com/office/drawing/2014/main" id="{ECF470D8-005B-13CD-4532-7F8D0DD1C10D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4" name="Freeform: Shape 13">
              <a:extLst>
                <a:ext uri="{FF2B5EF4-FFF2-40B4-BE49-F238E27FC236}">
                  <a16:creationId xmlns:a16="http://schemas.microsoft.com/office/drawing/2014/main" id="{E56391DF-2233-CE44-4EAD-D659DEE8A88B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6">
              <a:extLst>
                <a:ext uri="{FF2B5EF4-FFF2-40B4-BE49-F238E27FC236}">
                  <a16:creationId xmlns:a16="http://schemas.microsoft.com/office/drawing/2014/main" id="{077B1567-1307-C8F0-5B90-D0A005B2A704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17">
              <a:extLst>
                <a:ext uri="{FF2B5EF4-FFF2-40B4-BE49-F238E27FC236}">
                  <a16:creationId xmlns:a16="http://schemas.microsoft.com/office/drawing/2014/main" id="{D197BACD-295A-4429-038D-A65A9C8DCF36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18">
              <a:extLst>
                <a:ext uri="{FF2B5EF4-FFF2-40B4-BE49-F238E27FC236}">
                  <a16:creationId xmlns:a16="http://schemas.microsoft.com/office/drawing/2014/main" id="{BB439B9A-D27B-05B0-A7F6-39FB5D632F32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19">
              <a:extLst>
                <a:ext uri="{FF2B5EF4-FFF2-40B4-BE49-F238E27FC236}">
                  <a16:creationId xmlns:a16="http://schemas.microsoft.com/office/drawing/2014/main" id="{89EF8E0C-D2FB-E92B-B7C7-11B8459C42AE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9" name="Freeform: Shape 20">
              <a:extLst>
                <a:ext uri="{FF2B5EF4-FFF2-40B4-BE49-F238E27FC236}">
                  <a16:creationId xmlns:a16="http://schemas.microsoft.com/office/drawing/2014/main" id="{38948615-4B58-8E27-72D9-11E0E00EE1F9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0" name="Freeform: Shape 21">
              <a:extLst>
                <a:ext uri="{FF2B5EF4-FFF2-40B4-BE49-F238E27FC236}">
                  <a16:creationId xmlns:a16="http://schemas.microsoft.com/office/drawing/2014/main" id="{8E654F4F-2D43-194F-B837-B72175A7A23C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1" name="Freeform: Shape 22">
              <a:extLst>
                <a:ext uri="{FF2B5EF4-FFF2-40B4-BE49-F238E27FC236}">
                  <a16:creationId xmlns:a16="http://schemas.microsoft.com/office/drawing/2014/main" id="{6B31391A-A2F7-20B5-E916-814C4378B803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2" name="Freeform: Shape 23">
              <a:extLst>
                <a:ext uri="{FF2B5EF4-FFF2-40B4-BE49-F238E27FC236}">
                  <a16:creationId xmlns:a16="http://schemas.microsoft.com/office/drawing/2014/main" id="{25C0D481-87D7-DF44-DE90-12D8B84B3B7C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3" name="Freeform: Shape 24">
              <a:extLst>
                <a:ext uri="{FF2B5EF4-FFF2-40B4-BE49-F238E27FC236}">
                  <a16:creationId xmlns:a16="http://schemas.microsoft.com/office/drawing/2014/main" id="{2C7E5F75-2AD5-9618-C96D-12CB86C1BAA5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4" name="Freeform: Shape 25">
              <a:extLst>
                <a:ext uri="{FF2B5EF4-FFF2-40B4-BE49-F238E27FC236}">
                  <a16:creationId xmlns:a16="http://schemas.microsoft.com/office/drawing/2014/main" id="{D766187E-D2BE-582F-3347-8A06A155065E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5" name="Freeform: Shape 26">
              <a:extLst>
                <a:ext uri="{FF2B5EF4-FFF2-40B4-BE49-F238E27FC236}">
                  <a16:creationId xmlns:a16="http://schemas.microsoft.com/office/drawing/2014/main" id="{B147FAAB-E252-2995-E6FC-AD6D8DBCB29D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6" name="Freeform: Shape 27">
              <a:extLst>
                <a:ext uri="{FF2B5EF4-FFF2-40B4-BE49-F238E27FC236}">
                  <a16:creationId xmlns:a16="http://schemas.microsoft.com/office/drawing/2014/main" id="{63E916E2-9A6D-4748-BDDC-CADFF9B0CF1C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7" name="Freeform: Shape 28">
              <a:extLst>
                <a:ext uri="{FF2B5EF4-FFF2-40B4-BE49-F238E27FC236}">
                  <a16:creationId xmlns:a16="http://schemas.microsoft.com/office/drawing/2014/main" id="{FE59D9E7-985B-C26F-789E-15D67B6B6833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8" name="Freeform: Shape 29">
              <a:extLst>
                <a:ext uri="{FF2B5EF4-FFF2-40B4-BE49-F238E27FC236}">
                  <a16:creationId xmlns:a16="http://schemas.microsoft.com/office/drawing/2014/main" id="{20C6391F-EFD9-895F-4F94-1175001270D8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9" name="Freeform: Shape 30">
              <a:extLst>
                <a:ext uri="{FF2B5EF4-FFF2-40B4-BE49-F238E27FC236}">
                  <a16:creationId xmlns:a16="http://schemas.microsoft.com/office/drawing/2014/main" id="{11A0FC34-CDF7-D855-2302-BB54B2748D7B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0" name="Freeform: Shape 31">
              <a:extLst>
                <a:ext uri="{FF2B5EF4-FFF2-40B4-BE49-F238E27FC236}">
                  <a16:creationId xmlns:a16="http://schemas.microsoft.com/office/drawing/2014/main" id="{D791859B-6DE3-280E-414E-507E21D8053F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1" name="Freeform: Shape 32">
              <a:extLst>
                <a:ext uri="{FF2B5EF4-FFF2-40B4-BE49-F238E27FC236}">
                  <a16:creationId xmlns:a16="http://schemas.microsoft.com/office/drawing/2014/main" id="{67F0483E-C48B-D20D-FADE-944C7BFE653A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2" name="Freeform: Shape 33">
              <a:extLst>
                <a:ext uri="{FF2B5EF4-FFF2-40B4-BE49-F238E27FC236}">
                  <a16:creationId xmlns:a16="http://schemas.microsoft.com/office/drawing/2014/main" id="{18F94DB5-A62E-7F30-FD83-FB08657A82F5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3" name="Freeform: Shape 34">
              <a:extLst>
                <a:ext uri="{FF2B5EF4-FFF2-40B4-BE49-F238E27FC236}">
                  <a16:creationId xmlns:a16="http://schemas.microsoft.com/office/drawing/2014/main" id="{5B59E20B-CE56-7FA1-9470-E712AE103EB9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4" name="Freeform: Shape 35">
              <a:extLst>
                <a:ext uri="{FF2B5EF4-FFF2-40B4-BE49-F238E27FC236}">
                  <a16:creationId xmlns:a16="http://schemas.microsoft.com/office/drawing/2014/main" id="{5357F654-832A-EBC4-6B35-D34050118A5F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5" name="Freeform: Shape 36">
              <a:extLst>
                <a:ext uri="{FF2B5EF4-FFF2-40B4-BE49-F238E27FC236}">
                  <a16:creationId xmlns:a16="http://schemas.microsoft.com/office/drawing/2014/main" id="{837D3D20-F789-A76A-AD49-2A2BF743C496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6" name="Freeform: Shape 37">
              <a:extLst>
                <a:ext uri="{FF2B5EF4-FFF2-40B4-BE49-F238E27FC236}">
                  <a16:creationId xmlns:a16="http://schemas.microsoft.com/office/drawing/2014/main" id="{8667707E-64E4-B42C-D5A3-8210BDDAC974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7" name="Freeform: Shape 38">
              <a:extLst>
                <a:ext uri="{FF2B5EF4-FFF2-40B4-BE49-F238E27FC236}">
                  <a16:creationId xmlns:a16="http://schemas.microsoft.com/office/drawing/2014/main" id="{A5FFDF8C-E84D-398D-2A9D-BF332E993ABF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8" name="Freeform: Shape 39">
              <a:extLst>
                <a:ext uri="{FF2B5EF4-FFF2-40B4-BE49-F238E27FC236}">
                  <a16:creationId xmlns:a16="http://schemas.microsoft.com/office/drawing/2014/main" id="{CBC801C4-D800-DABB-7C46-44A3E02DB1D3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9" name="Freeform: Shape 40">
              <a:extLst>
                <a:ext uri="{FF2B5EF4-FFF2-40B4-BE49-F238E27FC236}">
                  <a16:creationId xmlns:a16="http://schemas.microsoft.com/office/drawing/2014/main" id="{3D76F731-C6AF-4627-FBA5-F9BD2B62D7F1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0" name="Freeform: Shape 41">
              <a:extLst>
                <a:ext uri="{FF2B5EF4-FFF2-40B4-BE49-F238E27FC236}">
                  <a16:creationId xmlns:a16="http://schemas.microsoft.com/office/drawing/2014/main" id="{6CAE07AA-DBA1-3386-8A05-3A562226B01E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1" name="Freeform: Shape 42">
              <a:extLst>
                <a:ext uri="{FF2B5EF4-FFF2-40B4-BE49-F238E27FC236}">
                  <a16:creationId xmlns:a16="http://schemas.microsoft.com/office/drawing/2014/main" id="{44C4156A-2546-3EFE-9C69-FDB00C2B8218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2" name="Freeform: Shape 43">
              <a:extLst>
                <a:ext uri="{FF2B5EF4-FFF2-40B4-BE49-F238E27FC236}">
                  <a16:creationId xmlns:a16="http://schemas.microsoft.com/office/drawing/2014/main" id="{6D33E2F6-D81E-F435-A16B-3F83F701DE08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3" name="Freeform: Shape 44">
              <a:extLst>
                <a:ext uri="{FF2B5EF4-FFF2-40B4-BE49-F238E27FC236}">
                  <a16:creationId xmlns:a16="http://schemas.microsoft.com/office/drawing/2014/main" id="{E6EB1B0E-11F6-2E6F-A0E8-729DEAF23FC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4" name="Freeform: Shape 45">
              <a:extLst>
                <a:ext uri="{FF2B5EF4-FFF2-40B4-BE49-F238E27FC236}">
                  <a16:creationId xmlns:a16="http://schemas.microsoft.com/office/drawing/2014/main" id="{31888EE9-6335-455C-4FD1-59D7F46C3B3E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5" name="Freeform: Shape 46">
              <a:extLst>
                <a:ext uri="{FF2B5EF4-FFF2-40B4-BE49-F238E27FC236}">
                  <a16:creationId xmlns:a16="http://schemas.microsoft.com/office/drawing/2014/main" id="{CC3CD4A4-AF7C-8D76-9869-3D03182A557C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6" name="Freeform: Shape 47">
              <a:extLst>
                <a:ext uri="{FF2B5EF4-FFF2-40B4-BE49-F238E27FC236}">
                  <a16:creationId xmlns:a16="http://schemas.microsoft.com/office/drawing/2014/main" id="{24678EFF-409C-333C-245E-09E13B6CDF3D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7" name="Freeform: Shape 48">
              <a:extLst>
                <a:ext uri="{FF2B5EF4-FFF2-40B4-BE49-F238E27FC236}">
                  <a16:creationId xmlns:a16="http://schemas.microsoft.com/office/drawing/2014/main" id="{A7B81610-688C-ACEB-9198-15C4B43EF7FE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8" name="Freeform: Shape 49">
              <a:extLst>
                <a:ext uri="{FF2B5EF4-FFF2-40B4-BE49-F238E27FC236}">
                  <a16:creationId xmlns:a16="http://schemas.microsoft.com/office/drawing/2014/main" id="{52E2949D-0B38-747C-8DE7-207F9E32A874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9" name="Freeform: Shape 50">
              <a:extLst>
                <a:ext uri="{FF2B5EF4-FFF2-40B4-BE49-F238E27FC236}">
                  <a16:creationId xmlns:a16="http://schemas.microsoft.com/office/drawing/2014/main" id="{2D6B44D0-0C58-BD1E-EBD2-7DB953EB25A6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0" name="Freeform: Shape 51">
              <a:extLst>
                <a:ext uri="{FF2B5EF4-FFF2-40B4-BE49-F238E27FC236}">
                  <a16:creationId xmlns:a16="http://schemas.microsoft.com/office/drawing/2014/main" id="{B57C939C-CDAE-E956-BFFE-C0DE9715A62C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1" name="Freeform: Shape 52">
              <a:extLst>
                <a:ext uri="{FF2B5EF4-FFF2-40B4-BE49-F238E27FC236}">
                  <a16:creationId xmlns:a16="http://schemas.microsoft.com/office/drawing/2014/main" id="{603FD47A-F7AB-0C90-C667-AE7AAF5EDA5B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2" name="Freeform: Shape 53">
              <a:extLst>
                <a:ext uri="{FF2B5EF4-FFF2-40B4-BE49-F238E27FC236}">
                  <a16:creationId xmlns:a16="http://schemas.microsoft.com/office/drawing/2014/main" id="{BD79DF82-6F06-D0A7-5E69-2780ECE5F5D0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3" name="Freeform: Shape 54">
              <a:extLst>
                <a:ext uri="{FF2B5EF4-FFF2-40B4-BE49-F238E27FC236}">
                  <a16:creationId xmlns:a16="http://schemas.microsoft.com/office/drawing/2014/main" id="{3AE9CB37-3038-1D27-BE6A-C803CD248475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4" name="Freeform: Shape 55">
              <a:extLst>
                <a:ext uri="{FF2B5EF4-FFF2-40B4-BE49-F238E27FC236}">
                  <a16:creationId xmlns:a16="http://schemas.microsoft.com/office/drawing/2014/main" id="{59EEFD15-CC74-AABD-E43C-C1EACAA79573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5" name="Freeform: Shape 56">
              <a:extLst>
                <a:ext uri="{FF2B5EF4-FFF2-40B4-BE49-F238E27FC236}">
                  <a16:creationId xmlns:a16="http://schemas.microsoft.com/office/drawing/2014/main" id="{9B063287-5EC3-823B-117B-401CBB2CBC1F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6" name="Freeform: Shape 57">
              <a:extLst>
                <a:ext uri="{FF2B5EF4-FFF2-40B4-BE49-F238E27FC236}">
                  <a16:creationId xmlns:a16="http://schemas.microsoft.com/office/drawing/2014/main" id="{08AD8D97-9E59-AA01-46D5-C43E790F9747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3D7CA789-1777-EA58-9AF2-10B1F18BF653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Agora é com você...</a:t>
            </a:r>
          </a:p>
        </p:txBody>
      </p:sp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6BE1E388-BAD9-97D9-66B5-526243690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125272"/>
              </p:ext>
            </p:extLst>
          </p:nvPr>
        </p:nvGraphicFramePr>
        <p:xfrm>
          <a:off x="1971658" y="1492764"/>
          <a:ext cx="1949779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9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0" dirty="0"/>
                        <a:t>IOT em V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Cateter umbilic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PICC inserido hoj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Internado há 5 di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7511664"/>
                  </a:ext>
                </a:extLst>
              </a:tr>
            </a:tbl>
          </a:graphicData>
        </a:graphic>
      </p:graphicFrame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25CF19E9-66FE-DE20-42F8-7405214D2B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592614"/>
              </p:ext>
            </p:extLst>
          </p:nvPr>
        </p:nvGraphicFramePr>
        <p:xfrm>
          <a:off x="6103913" y="1474957"/>
          <a:ext cx="1949779" cy="17059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9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0" dirty="0"/>
                        <a:t>Em ar ambien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Sem cateter cent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Acesso venoso periféric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Internado hoj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7511664"/>
                  </a:ext>
                </a:extLst>
              </a:tr>
            </a:tbl>
          </a:graphicData>
        </a:graphic>
      </p:graphicFrame>
      <p:graphicFrame>
        <p:nvGraphicFramePr>
          <p:cNvPr id="18" name="Tabela 17">
            <a:extLst>
              <a:ext uri="{FF2B5EF4-FFF2-40B4-BE49-F238E27FC236}">
                <a16:creationId xmlns:a16="http://schemas.microsoft.com/office/drawing/2014/main" id="{29706F5D-F460-83A8-C876-6058DD24E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9083118"/>
              </p:ext>
            </p:extLst>
          </p:nvPr>
        </p:nvGraphicFramePr>
        <p:xfrm>
          <a:off x="4025166" y="3953190"/>
          <a:ext cx="1949779" cy="17059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9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0" dirty="0"/>
                        <a:t>IOT em V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PICC sacado (antes da sua visit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Sem CVD ou SV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Internado há 3 di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7511664"/>
                  </a:ext>
                </a:extLst>
              </a:tr>
            </a:tbl>
          </a:graphicData>
        </a:graphic>
      </p:graphicFrame>
      <p:graphicFrame>
        <p:nvGraphicFramePr>
          <p:cNvPr id="21" name="Tabela 20">
            <a:extLst>
              <a:ext uri="{FF2B5EF4-FFF2-40B4-BE49-F238E27FC236}">
                <a16:creationId xmlns:a16="http://schemas.microsoft.com/office/drawing/2014/main" id="{553993D5-4104-DF05-4C16-576F934C66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058386"/>
              </p:ext>
            </p:extLst>
          </p:nvPr>
        </p:nvGraphicFramePr>
        <p:xfrm>
          <a:off x="8105096" y="3942388"/>
          <a:ext cx="1949779" cy="17059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9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0" dirty="0"/>
                        <a:t>Ar ambien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Cateter umbilical sacado hoj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PICC inserido hoj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Internado há 7 di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7511664"/>
                  </a:ext>
                </a:extLst>
              </a:tr>
            </a:tbl>
          </a:graphicData>
        </a:graphic>
      </p:graphicFrame>
      <p:graphicFrame>
        <p:nvGraphicFramePr>
          <p:cNvPr id="7" name="Tabela 6">
            <a:extLst>
              <a:ext uri="{FF2B5EF4-FFF2-40B4-BE49-F238E27FC236}">
                <a16:creationId xmlns:a16="http://schemas.microsoft.com/office/drawing/2014/main" id="{719607DA-0147-738D-8EB1-FEA780467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911886"/>
              </p:ext>
            </p:extLst>
          </p:nvPr>
        </p:nvGraphicFramePr>
        <p:xfrm>
          <a:off x="6135993" y="1582280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B5F523D3-A80B-AF1B-FFE9-8CF22E53F3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255478"/>
              </p:ext>
            </p:extLst>
          </p:nvPr>
        </p:nvGraphicFramePr>
        <p:xfrm>
          <a:off x="10080142" y="1513703"/>
          <a:ext cx="1949779" cy="17059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9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0" dirty="0"/>
                        <a:t>Cateter nasal de alto flux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PICC (D7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Sem CVD ou SV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dirty="0"/>
                        <a:t>Internado há 10 di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7511664"/>
                  </a:ext>
                </a:extLst>
              </a:tr>
            </a:tbl>
          </a:graphicData>
        </a:graphic>
      </p:graphicFrame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874269E3-04FA-21DA-62DF-7B366BCCF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7616619"/>
              </p:ext>
            </p:extLst>
          </p:nvPr>
        </p:nvGraphicFramePr>
        <p:xfrm>
          <a:off x="1978117" y="1473391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14" name="Tabela 13">
            <a:extLst>
              <a:ext uri="{FF2B5EF4-FFF2-40B4-BE49-F238E27FC236}">
                <a16:creationId xmlns:a16="http://schemas.microsoft.com/office/drawing/2014/main" id="{FF0274AA-93E9-B55C-9D62-FA44931D9E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933432"/>
              </p:ext>
            </p:extLst>
          </p:nvPr>
        </p:nvGraphicFramePr>
        <p:xfrm>
          <a:off x="10112221" y="1643469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17" name="Tabela 16">
            <a:extLst>
              <a:ext uri="{FF2B5EF4-FFF2-40B4-BE49-F238E27FC236}">
                <a16:creationId xmlns:a16="http://schemas.microsoft.com/office/drawing/2014/main" id="{A0F850A0-A729-A939-4430-1F1EB2C87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470590"/>
              </p:ext>
            </p:extLst>
          </p:nvPr>
        </p:nvGraphicFramePr>
        <p:xfrm>
          <a:off x="4025165" y="4108309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graphicFrame>
        <p:nvGraphicFramePr>
          <p:cNvPr id="22" name="Tabela 21">
            <a:extLst>
              <a:ext uri="{FF2B5EF4-FFF2-40B4-BE49-F238E27FC236}">
                <a16:creationId xmlns:a16="http://schemas.microsoft.com/office/drawing/2014/main" id="{14455C3F-85FF-ED9D-338A-DD7790C3D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831392"/>
              </p:ext>
            </p:extLst>
          </p:nvPr>
        </p:nvGraphicFramePr>
        <p:xfrm>
          <a:off x="8105096" y="4044144"/>
          <a:ext cx="1949778" cy="1502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9778">
                  <a:extLst>
                    <a:ext uri="{9D8B030D-6E8A-4147-A177-3AD203B41FA5}">
                      <a16:colId xmlns:a16="http://schemas.microsoft.com/office/drawing/2014/main" val="4227930257"/>
                    </a:ext>
                  </a:extLst>
                </a:gridCol>
              </a:tblGrid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b="0" dirty="0"/>
                        <a:t>VM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70972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1 </a:t>
                      </a:r>
                      <a:r>
                        <a:rPr lang="pt-BR" sz="1600" dirty="0"/>
                        <a:t>CVC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850081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algn="l"/>
                      <a:r>
                        <a:rPr lang="pt-BR" sz="1600" b="1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pt-BR" sz="1600" dirty="0"/>
                        <a:t>CVD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36016"/>
                  </a:ext>
                </a:extLst>
              </a:tr>
              <a:tr h="375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pt-B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iente-di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657341"/>
                  </a:ext>
                </a:extLst>
              </a:tr>
            </a:tbl>
          </a:graphicData>
        </a:graphic>
      </p:graphicFrame>
      <p:sp>
        <p:nvSpPr>
          <p:cNvPr id="127" name="Retângulo 126">
            <a:extLst>
              <a:ext uri="{FF2B5EF4-FFF2-40B4-BE49-F238E27FC236}">
                <a16:creationId xmlns:a16="http://schemas.microsoft.com/office/drawing/2014/main" id="{3323372D-2DB5-53C1-23EA-8F79665FCFA3}"/>
              </a:ext>
            </a:extLst>
          </p:cNvPr>
          <p:cNvSpPr/>
          <p:nvPr/>
        </p:nvSpPr>
        <p:spPr>
          <a:xfrm>
            <a:off x="462396" y="304876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1</a:t>
            </a:r>
          </a:p>
        </p:txBody>
      </p:sp>
      <p:sp>
        <p:nvSpPr>
          <p:cNvPr id="1025" name="Retângulo 1024">
            <a:extLst>
              <a:ext uri="{FF2B5EF4-FFF2-40B4-BE49-F238E27FC236}">
                <a16:creationId xmlns:a16="http://schemas.microsoft.com/office/drawing/2014/main" id="{BA6FBD21-E1C0-6EDB-5DB3-35326C5B1BF3}"/>
              </a:ext>
            </a:extLst>
          </p:cNvPr>
          <p:cNvSpPr/>
          <p:nvPr/>
        </p:nvSpPr>
        <p:spPr>
          <a:xfrm>
            <a:off x="4646684" y="2994295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2</a:t>
            </a:r>
          </a:p>
        </p:txBody>
      </p:sp>
      <p:sp>
        <p:nvSpPr>
          <p:cNvPr id="1027" name="Retângulo 1026">
            <a:extLst>
              <a:ext uri="{FF2B5EF4-FFF2-40B4-BE49-F238E27FC236}">
                <a16:creationId xmlns:a16="http://schemas.microsoft.com/office/drawing/2014/main" id="{BF7D96AB-E596-6767-C35F-E2E7E24355B1}"/>
              </a:ext>
            </a:extLst>
          </p:cNvPr>
          <p:cNvSpPr/>
          <p:nvPr/>
        </p:nvSpPr>
        <p:spPr>
          <a:xfrm>
            <a:off x="8716798" y="3131507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3</a:t>
            </a:r>
          </a:p>
        </p:txBody>
      </p:sp>
      <p:sp>
        <p:nvSpPr>
          <p:cNvPr id="1029" name="Retângulo 1028">
            <a:extLst>
              <a:ext uri="{FF2B5EF4-FFF2-40B4-BE49-F238E27FC236}">
                <a16:creationId xmlns:a16="http://schemas.microsoft.com/office/drawing/2014/main" id="{90A61856-303E-F3E3-8E36-A5EEBD513C8C}"/>
              </a:ext>
            </a:extLst>
          </p:cNvPr>
          <p:cNvSpPr/>
          <p:nvPr/>
        </p:nvSpPr>
        <p:spPr>
          <a:xfrm>
            <a:off x="2573570" y="5531351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4</a:t>
            </a:r>
          </a:p>
        </p:txBody>
      </p:sp>
      <p:sp>
        <p:nvSpPr>
          <p:cNvPr id="1031" name="Retângulo 1030">
            <a:extLst>
              <a:ext uri="{FF2B5EF4-FFF2-40B4-BE49-F238E27FC236}">
                <a16:creationId xmlns:a16="http://schemas.microsoft.com/office/drawing/2014/main" id="{4C31B3C8-65D5-4BFB-9554-B17CC331C917}"/>
              </a:ext>
            </a:extLst>
          </p:cNvPr>
          <p:cNvSpPr/>
          <p:nvPr/>
        </p:nvSpPr>
        <p:spPr>
          <a:xfrm>
            <a:off x="6564496" y="5518300"/>
            <a:ext cx="1077686" cy="3418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ct 5</a:t>
            </a:r>
          </a:p>
        </p:txBody>
      </p:sp>
      <p:sp>
        <p:nvSpPr>
          <p:cNvPr id="1033" name="Freeform 3" descr="Uma imagem contendo Ícone&#10;&#10;O conteúdo gerado por IA pode estar incorreto.">
            <a:extLst>
              <a:ext uri="{FF2B5EF4-FFF2-40B4-BE49-F238E27FC236}">
                <a16:creationId xmlns:a16="http://schemas.microsoft.com/office/drawing/2014/main" id="{FEF7DE96-6E9B-62BB-AFAE-E548D0705F5D}"/>
              </a:ext>
            </a:extLst>
          </p:cNvPr>
          <p:cNvSpPr/>
          <p:nvPr/>
        </p:nvSpPr>
        <p:spPr>
          <a:xfrm>
            <a:off x="212070" y="1380552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037" name="Freeform 3">
            <a:extLst>
              <a:ext uri="{FF2B5EF4-FFF2-40B4-BE49-F238E27FC236}">
                <a16:creationId xmlns:a16="http://schemas.microsoft.com/office/drawing/2014/main" id="{16E9FEE7-1B00-3FCA-F9AE-4398AC918132}"/>
              </a:ext>
            </a:extLst>
          </p:cNvPr>
          <p:cNvSpPr/>
          <p:nvPr/>
        </p:nvSpPr>
        <p:spPr>
          <a:xfrm>
            <a:off x="4358512" y="133067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039" name="Freeform 3" descr="Ícone&#10;&#10;O conteúdo gerado por IA pode estar incorreto.">
            <a:extLst>
              <a:ext uri="{FF2B5EF4-FFF2-40B4-BE49-F238E27FC236}">
                <a16:creationId xmlns:a16="http://schemas.microsoft.com/office/drawing/2014/main" id="{A634AD16-4362-B98C-4F30-D43355F7D81A}"/>
              </a:ext>
            </a:extLst>
          </p:cNvPr>
          <p:cNvSpPr/>
          <p:nvPr/>
        </p:nvSpPr>
        <p:spPr>
          <a:xfrm>
            <a:off x="2289628" y="3864396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042" name="Freeform 3" descr="Ícone&#10;&#10;O conteúdo gerado por IA pode estar incorreto.">
            <a:extLst>
              <a:ext uri="{FF2B5EF4-FFF2-40B4-BE49-F238E27FC236}">
                <a16:creationId xmlns:a16="http://schemas.microsoft.com/office/drawing/2014/main" id="{9BA789B5-ED4F-D2A6-CA2A-AE70B4DFFA55}"/>
              </a:ext>
            </a:extLst>
          </p:cNvPr>
          <p:cNvSpPr/>
          <p:nvPr/>
        </p:nvSpPr>
        <p:spPr>
          <a:xfrm>
            <a:off x="6280554" y="3848934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1044" name="Freeform 3" descr="Uma imagem contendo Ícone&#10;&#10;O conteúdo gerado por IA pode estar incorreto.">
            <a:extLst>
              <a:ext uri="{FF2B5EF4-FFF2-40B4-BE49-F238E27FC236}">
                <a16:creationId xmlns:a16="http://schemas.microsoft.com/office/drawing/2014/main" id="{74475B11-574E-73B9-3BC6-A684A7A80372}"/>
              </a:ext>
            </a:extLst>
          </p:cNvPr>
          <p:cNvSpPr/>
          <p:nvPr/>
        </p:nvSpPr>
        <p:spPr>
          <a:xfrm>
            <a:off x="8403061" y="1470021"/>
            <a:ext cx="1645571" cy="1643536"/>
          </a:xfrm>
          <a:custGeom>
            <a:avLst/>
            <a:gdLst/>
            <a:ahLst/>
            <a:cxnLst/>
            <a:rect l="l" t="t" r="r" b="b"/>
            <a:pathLst>
              <a:path w="9067187" h="6199689">
                <a:moveTo>
                  <a:pt x="0" y="0"/>
                </a:moveTo>
                <a:lnTo>
                  <a:pt x="9067187" y="0"/>
                </a:lnTo>
                <a:lnTo>
                  <a:pt x="9067187" y="6199689"/>
                </a:lnTo>
                <a:lnTo>
                  <a:pt x="0" y="619968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5791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7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" dur="1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7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7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" dur="1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7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0" dur="1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58DF7FB0-D3B4-4F04-243C-066C4E1F8850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C994F84C-8B6B-40D4-8AA6-2E4717EDF8AB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16073920-F666-5872-274B-D0E06509C299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C832584B-8B65-D376-F6A7-2F5DE080C6D8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A97E996E-E190-28BB-864A-404BC1848795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069C4F71-5C35-40F8-E99F-7D0B16BFEE90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8171EC67-A821-786A-3803-50559E14767B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C6B535A5-46A1-07D5-D8FC-398795FD0617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3E188029-467E-C773-3D0B-6078F368BF59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2DB9A897-75E5-9611-690F-E4EA3F66A5E0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D443C1D7-9653-AED7-EF96-70F6A7758BA4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CEA3CF14-B16A-B771-D664-D10A72F9AE86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EE311B65-7DC4-C166-24B4-447B12910B95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04D0D718-1073-7D10-6546-75680315CC2C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0CB22622-2694-C52C-5409-2E1D1979B9E8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D3112133-D58B-3751-9D4A-80F121DC7657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8FBAA89F-2B50-8336-8982-36CC8E83EC21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E633C2E6-EA13-B23C-4D77-9D06827741B9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1EB503C8-8339-B4E6-ADEA-B4FD2F122B46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B4E5EB34-E438-CD65-BB37-574D609FD4F0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F277C9FA-8383-0469-A1F5-7332785D3657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C349036B-5BC1-0B8F-656F-99C3954ABC2C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C6E25A42-07DC-FC63-0EB2-A3C57865004C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F267E5EC-D6FC-4323-ABBE-BC9AF1E9B16F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0235DA4B-A7AF-54CC-8508-20DC237B65ED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4AD0A146-B4AB-E3C5-57F1-3F1064787D74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734AEA69-D41C-914E-1BDB-21339747EECD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D4902B50-CF8F-14E1-1F73-54334B890E33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2F698840-FEB8-4E2A-E6AD-36113040EC90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09F7FA0A-D827-A4A3-F71C-1DE8B8B77F96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5EDDDE4B-6C34-95F4-C7B0-B6B63A13317D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27491D96-E278-25FE-0C60-8EA0EDB9A766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109B1BE5-9F97-7700-2088-ACBB345835A9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299FC963-95C2-9551-43C1-2EDFF45C4FA8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8B2C81B9-06E1-66DF-A76D-D12DCA12C743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99B63600-EEF9-652E-C841-E3790C6368A3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DC274C22-F741-AAA4-122E-683A539A939B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92357605-5011-8D9A-E052-02BBBF06990C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9C7003C0-4354-A68C-275B-A7D49B483C51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F4A16572-BD9E-3B6E-37F3-1074734F3C46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B2268820-91D0-6525-6162-A02DCDC381A7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7A41BFCA-374B-C730-6C23-1FEF7FF62B5C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3FE64F84-3FB5-A1F6-EC7B-D229BE3725D7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0D2916E4-B9FD-A4E2-1434-9CD6E95CB722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B777BD3F-6D9F-332F-CBD5-BA24B43E7BA3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mpilado mensal</a:t>
            </a:r>
          </a:p>
        </p:txBody>
      </p:sp>
      <p:pic>
        <p:nvPicPr>
          <p:cNvPr id="47" name="Imagem 46" descr="Tabela&#10;&#10;O conteúdo gerado por IA pode estar incorreto.">
            <a:extLst>
              <a:ext uri="{FF2B5EF4-FFF2-40B4-BE49-F238E27FC236}">
                <a16:creationId xmlns:a16="http://schemas.microsoft.com/office/drawing/2014/main" id="{82379818-F8AC-6679-A914-3B9995363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0223" y="1462065"/>
            <a:ext cx="8791554" cy="4599741"/>
          </a:xfrm>
          <a:prstGeom prst="rect">
            <a:avLst/>
          </a:prstGeom>
        </p:spPr>
      </p:pic>
      <p:sp>
        <p:nvSpPr>
          <p:cNvPr id="48" name="CaixaDeTexto 47">
            <a:extLst>
              <a:ext uri="{FF2B5EF4-FFF2-40B4-BE49-F238E27FC236}">
                <a16:creationId xmlns:a16="http://schemas.microsoft.com/office/drawing/2014/main" id="{7168465E-35BD-6B09-3C94-28C2BEB24D50}"/>
              </a:ext>
            </a:extLst>
          </p:cNvPr>
          <p:cNvSpPr txBox="1"/>
          <p:nvPr/>
        </p:nvSpPr>
        <p:spPr>
          <a:xfrm>
            <a:off x="4515205" y="2618236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5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9FFC1A2E-2DEC-4DDA-5D66-91527BE1AE2B}"/>
              </a:ext>
            </a:extLst>
          </p:cNvPr>
          <p:cNvSpPr txBox="1"/>
          <p:nvPr/>
        </p:nvSpPr>
        <p:spPr>
          <a:xfrm>
            <a:off x="5627441" y="2618235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2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33177CE-3B36-8BD7-6AEC-202B11CA9533}"/>
              </a:ext>
            </a:extLst>
          </p:cNvPr>
          <p:cNvSpPr txBox="1"/>
          <p:nvPr/>
        </p:nvSpPr>
        <p:spPr>
          <a:xfrm>
            <a:off x="6739677" y="2618234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3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80A7F9E5-0EB9-744D-81BE-1BD951F06E4E}"/>
              </a:ext>
            </a:extLst>
          </p:cNvPr>
          <p:cNvSpPr txBox="1"/>
          <p:nvPr/>
        </p:nvSpPr>
        <p:spPr>
          <a:xfrm>
            <a:off x="7851913" y="2618234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0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AFC31AE0-12EA-9EAE-233F-3CFB6A3343D5}"/>
              </a:ext>
            </a:extLst>
          </p:cNvPr>
          <p:cNvSpPr txBox="1"/>
          <p:nvPr/>
        </p:nvSpPr>
        <p:spPr>
          <a:xfrm>
            <a:off x="4515205" y="293387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4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5BDD949A-6052-736A-F18B-B0841B328FAA}"/>
              </a:ext>
            </a:extLst>
          </p:cNvPr>
          <p:cNvSpPr txBox="1"/>
          <p:nvPr/>
        </p:nvSpPr>
        <p:spPr>
          <a:xfrm>
            <a:off x="5627441" y="293387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3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43006C8A-3C2D-CE4F-9ABB-E1A7A1D39695}"/>
              </a:ext>
            </a:extLst>
          </p:cNvPr>
          <p:cNvSpPr txBox="1"/>
          <p:nvPr/>
        </p:nvSpPr>
        <p:spPr>
          <a:xfrm>
            <a:off x="6739676" y="293387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4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D2443D8C-AB14-2A51-51B5-6971295BE622}"/>
              </a:ext>
            </a:extLst>
          </p:cNvPr>
          <p:cNvSpPr txBox="1"/>
          <p:nvPr/>
        </p:nvSpPr>
        <p:spPr>
          <a:xfrm>
            <a:off x="7851911" y="293387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0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262D6B29-6172-B519-6907-338BC5FCF114}"/>
              </a:ext>
            </a:extLst>
          </p:cNvPr>
          <p:cNvSpPr txBox="1"/>
          <p:nvPr/>
        </p:nvSpPr>
        <p:spPr>
          <a:xfrm>
            <a:off x="4515203" y="3158631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DA7062F8-91FF-0B8D-1809-1D75D9796904}"/>
              </a:ext>
            </a:extLst>
          </p:cNvPr>
          <p:cNvSpPr txBox="1"/>
          <p:nvPr/>
        </p:nvSpPr>
        <p:spPr>
          <a:xfrm>
            <a:off x="5627439" y="31586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028CC8AE-CB58-581B-9905-AA0830FCEA5B}"/>
              </a:ext>
            </a:extLst>
          </p:cNvPr>
          <p:cNvSpPr txBox="1"/>
          <p:nvPr/>
        </p:nvSpPr>
        <p:spPr>
          <a:xfrm>
            <a:off x="6739674" y="31586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EACAC6A5-ECD9-3AEF-9343-8020DADFFBD3}"/>
              </a:ext>
            </a:extLst>
          </p:cNvPr>
          <p:cNvSpPr txBox="1"/>
          <p:nvPr/>
        </p:nvSpPr>
        <p:spPr>
          <a:xfrm>
            <a:off x="7851909" y="31586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DA031FB0-E1A4-EE81-6328-6B59553A5912}"/>
              </a:ext>
            </a:extLst>
          </p:cNvPr>
          <p:cNvSpPr txBox="1"/>
          <p:nvPr/>
        </p:nvSpPr>
        <p:spPr>
          <a:xfrm>
            <a:off x="4503843" y="3439793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A29474A4-9969-986B-C11D-686892D86746}"/>
              </a:ext>
            </a:extLst>
          </p:cNvPr>
          <p:cNvSpPr txBox="1"/>
          <p:nvPr/>
        </p:nvSpPr>
        <p:spPr>
          <a:xfrm>
            <a:off x="5616079" y="343979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A0A89FDA-D358-30C4-95BF-34BEC113957C}"/>
              </a:ext>
            </a:extLst>
          </p:cNvPr>
          <p:cNvSpPr txBox="1"/>
          <p:nvPr/>
        </p:nvSpPr>
        <p:spPr>
          <a:xfrm>
            <a:off x="6728314" y="343979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861C10F4-741E-0518-7AD2-F0753C680B08}"/>
              </a:ext>
            </a:extLst>
          </p:cNvPr>
          <p:cNvSpPr txBox="1"/>
          <p:nvPr/>
        </p:nvSpPr>
        <p:spPr>
          <a:xfrm>
            <a:off x="7857589" y="3439793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A81369DE-7D18-A046-27E8-EB7F6772C96E}"/>
              </a:ext>
            </a:extLst>
          </p:cNvPr>
          <p:cNvSpPr txBox="1"/>
          <p:nvPr/>
        </p:nvSpPr>
        <p:spPr>
          <a:xfrm>
            <a:off x="4501002" y="3734934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971E2691-1009-00C1-571A-EC29AEF8492F}"/>
              </a:ext>
            </a:extLst>
          </p:cNvPr>
          <p:cNvSpPr txBox="1"/>
          <p:nvPr/>
        </p:nvSpPr>
        <p:spPr>
          <a:xfrm>
            <a:off x="5613238" y="3734934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F56385DC-E945-BDBD-87E3-E94A8B154DDC}"/>
              </a:ext>
            </a:extLst>
          </p:cNvPr>
          <p:cNvSpPr txBox="1"/>
          <p:nvPr/>
        </p:nvSpPr>
        <p:spPr>
          <a:xfrm>
            <a:off x="6725473" y="3734934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46479870-EDB7-2108-2A95-B0A7887864DA}"/>
              </a:ext>
            </a:extLst>
          </p:cNvPr>
          <p:cNvSpPr txBox="1"/>
          <p:nvPr/>
        </p:nvSpPr>
        <p:spPr>
          <a:xfrm>
            <a:off x="7877468" y="3734934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4B3695E7-2046-392E-C303-5212DDF03E8C}"/>
              </a:ext>
            </a:extLst>
          </p:cNvPr>
          <p:cNvSpPr txBox="1"/>
          <p:nvPr/>
        </p:nvSpPr>
        <p:spPr>
          <a:xfrm>
            <a:off x="4515203" y="5566295"/>
            <a:ext cx="6077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C00000"/>
                </a:solidFill>
              </a:rPr>
              <a:t>155</a:t>
            </a:r>
            <a:endParaRPr lang="pt-BR" sz="1100" b="1" dirty="0">
              <a:solidFill>
                <a:srgbClr val="C00000"/>
              </a:solidFill>
            </a:endParaRP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3E54217B-E01C-E7B2-10EF-20CDD05C217D}"/>
              </a:ext>
            </a:extLst>
          </p:cNvPr>
          <p:cNvSpPr txBox="1"/>
          <p:nvPr/>
        </p:nvSpPr>
        <p:spPr>
          <a:xfrm>
            <a:off x="5627439" y="5566294"/>
            <a:ext cx="6077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C00000"/>
                </a:solidFill>
              </a:rPr>
              <a:t>122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BC6EC9D2-ADB8-333F-1BBE-52548AC0FE7B}"/>
              </a:ext>
            </a:extLst>
          </p:cNvPr>
          <p:cNvSpPr txBox="1"/>
          <p:nvPr/>
        </p:nvSpPr>
        <p:spPr>
          <a:xfrm>
            <a:off x="6739675" y="5566293"/>
            <a:ext cx="6077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C00000"/>
                </a:solidFill>
              </a:rPr>
              <a:t>131</a:t>
            </a:r>
            <a:endParaRPr lang="pt-BR" sz="1100" b="1" dirty="0">
              <a:solidFill>
                <a:srgbClr val="C00000"/>
              </a:solidFill>
            </a:endParaRP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1F791D08-4C3B-18D2-97CD-7321006C4A94}"/>
              </a:ext>
            </a:extLst>
          </p:cNvPr>
          <p:cNvSpPr txBox="1"/>
          <p:nvPr/>
        </p:nvSpPr>
        <p:spPr>
          <a:xfrm>
            <a:off x="7851911" y="5566293"/>
            <a:ext cx="6077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C00000"/>
                </a:solidFill>
              </a:rPr>
              <a:t>0</a:t>
            </a:r>
            <a:endParaRPr lang="pt-BR" sz="1100" b="1" dirty="0">
              <a:solidFill>
                <a:srgbClr val="C00000"/>
              </a:solidFill>
            </a:endParaRPr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7A8AA6B7-35EB-024C-D01E-784D0216D521}"/>
              </a:ext>
            </a:extLst>
          </p:cNvPr>
          <p:cNvSpPr txBox="1"/>
          <p:nvPr/>
        </p:nvSpPr>
        <p:spPr>
          <a:xfrm>
            <a:off x="4518044" y="3980190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3" name="CaixaDeTexto 72">
            <a:extLst>
              <a:ext uri="{FF2B5EF4-FFF2-40B4-BE49-F238E27FC236}">
                <a16:creationId xmlns:a16="http://schemas.microsoft.com/office/drawing/2014/main" id="{9C4C2D5E-6239-2088-75F2-816C7400CC2A}"/>
              </a:ext>
            </a:extLst>
          </p:cNvPr>
          <p:cNvSpPr txBox="1"/>
          <p:nvPr/>
        </p:nvSpPr>
        <p:spPr>
          <a:xfrm>
            <a:off x="5630280" y="3980190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4" name="CaixaDeTexto 73">
            <a:extLst>
              <a:ext uri="{FF2B5EF4-FFF2-40B4-BE49-F238E27FC236}">
                <a16:creationId xmlns:a16="http://schemas.microsoft.com/office/drawing/2014/main" id="{B15FC33E-B1E8-73EF-480E-A5DAA49F59A3}"/>
              </a:ext>
            </a:extLst>
          </p:cNvPr>
          <p:cNvSpPr txBox="1"/>
          <p:nvPr/>
        </p:nvSpPr>
        <p:spPr>
          <a:xfrm>
            <a:off x="6742515" y="3980190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54A3863E-453B-48C5-0E6D-095B166E35E6}"/>
              </a:ext>
            </a:extLst>
          </p:cNvPr>
          <p:cNvSpPr txBox="1"/>
          <p:nvPr/>
        </p:nvSpPr>
        <p:spPr>
          <a:xfrm>
            <a:off x="7871790" y="3980190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6" name="CaixaDeTexto 75">
            <a:extLst>
              <a:ext uri="{FF2B5EF4-FFF2-40B4-BE49-F238E27FC236}">
                <a16:creationId xmlns:a16="http://schemas.microsoft.com/office/drawing/2014/main" id="{64DEE0FB-EA04-6235-2202-242B6D69D623}"/>
              </a:ext>
            </a:extLst>
          </p:cNvPr>
          <p:cNvSpPr txBox="1"/>
          <p:nvPr/>
        </p:nvSpPr>
        <p:spPr>
          <a:xfrm>
            <a:off x="4515203" y="4275331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7" name="CaixaDeTexto 76">
            <a:extLst>
              <a:ext uri="{FF2B5EF4-FFF2-40B4-BE49-F238E27FC236}">
                <a16:creationId xmlns:a16="http://schemas.microsoft.com/office/drawing/2014/main" id="{74A970EE-19A6-DB70-64ED-73E905C8615C}"/>
              </a:ext>
            </a:extLst>
          </p:cNvPr>
          <p:cNvSpPr txBox="1"/>
          <p:nvPr/>
        </p:nvSpPr>
        <p:spPr>
          <a:xfrm>
            <a:off x="5627439" y="42753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67490678-B8DF-4D1C-650B-EF49F8105AA4}"/>
              </a:ext>
            </a:extLst>
          </p:cNvPr>
          <p:cNvSpPr txBox="1"/>
          <p:nvPr/>
        </p:nvSpPr>
        <p:spPr>
          <a:xfrm>
            <a:off x="6739674" y="42753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id="{5680E0E9-972F-F562-15A8-A23B0F9AF613}"/>
              </a:ext>
            </a:extLst>
          </p:cNvPr>
          <p:cNvSpPr txBox="1"/>
          <p:nvPr/>
        </p:nvSpPr>
        <p:spPr>
          <a:xfrm>
            <a:off x="7891669" y="427533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6E78AC2A-C646-F8F7-41E4-A7A6C0B1A1BB}"/>
              </a:ext>
            </a:extLst>
          </p:cNvPr>
          <p:cNvSpPr txBox="1"/>
          <p:nvPr/>
        </p:nvSpPr>
        <p:spPr>
          <a:xfrm>
            <a:off x="4518044" y="4617151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277A5FD9-19CB-5733-9FAA-2D18B4241E63}"/>
              </a:ext>
            </a:extLst>
          </p:cNvPr>
          <p:cNvSpPr txBox="1"/>
          <p:nvPr/>
        </p:nvSpPr>
        <p:spPr>
          <a:xfrm>
            <a:off x="5630280" y="461715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0992E916-A0F1-07F1-1453-5F179085D2B6}"/>
              </a:ext>
            </a:extLst>
          </p:cNvPr>
          <p:cNvSpPr txBox="1"/>
          <p:nvPr/>
        </p:nvSpPr>
        <p:spPr>
          <a:xfrm>
            <a:off x="6742515" y="461715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8AA1DCB1-E873-9272-D83D-71C79ED0D316}"/>
              </a:ext>
            </a:extLst>
          </p:cNvPr>
          <p:cNvSpPr txBox="1"/>
          <p:nvPr/>
        </p:nvSpPr>
        <p:spPr>
          <a:xfrm>
            <a:off x="7871790" y="4617151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983A89A2-E85A-32C8-6AF0-465E6CBFD722}"/>
              </a:ext>
            </a:extLst>
          </p:cNvPr>
          <p:cNvSpPr txBox="1"/>
          <p:nvPr/>
        </p:nvSpPr>
        <p:spPr>
          <a:xfrm>
            <a:off x="4515203" y="4912292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D4AD0905-4D62-BEA9-B5B8-B3C52251EB44}"/>
              </a:ext>
            </a:extLst>
          </p:cNvPr>
          <p:cNvSpPr txBox="1"/>
          <p:nvPr/>
        </p:nvSpPr>
        <p:spPr>
          <a:xfrm>
            <a:off x="5627439" y="4912292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6F6C4D33-F1EA-DEEF-2DB4-F8C1F86B200F}"/>
              </a:ext>
            </a:extLst>
          </p:cNvPr>
          <p:cNvSpPr txBox="1"/>
          <p:nvPr/>
        </p:nvSpPr>
        <p:spPr>
          <a:xfrm>
            <a:off x="6739674" y="4912292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1DED1C1C-BCBA-D2CC-2C4E-F5E34496AE92}"/>
              </a:ext>
            </a:extLst>
          </p:cNvPr>
          <p:cNvSpPr txBox="1"/>
          <p:nvPr/>
        </p:nvSpPr>
        <p:spPr>
          <a:xfrm>
            <a:off x="7891669" y="4912292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00E17A2A-61C0-3EB4-6CB8-65C380AB523B}"/>
              </a:ext>
            </a:extLst>
          </p:cNvPr>
          <p:cNvSpPr txBox="1"/>
          <p:nvPr/>
        </p:nvSpPr>
        <p:spPr>
          <a:xfrm>
            <a:off x="4506683" y="5199345"/>
            <a:ext cx="60770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DF75C3A-03AA-1249-FB54-E7304F08D93C}"/>
              </a:ext>
            </a:extLst>
          </p:cNvPr>
          <p:cNvSpPr txBox="1"/>
          <p:nvPr/>
        </p:nvSpPr>
        <p:spPr>
          <a:xfrm>
            <a:off x="5618919" y="5199345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169D9003-FD6A-3073-44EC-05A8CD75E12E}"/>
              </a:ext>
            </a:extLst>
          </p:cNvPr>
          <p:cNvSpPr txBox="1"/>
          <p:nvPr/>
        </p:nvSpPr>
        <p:spPr>
          <a:xfrm>
            <a:off x="6731154" y="5199345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91" name="CaixaDeTexto 90">
            <a:extLst>
              <a:ext uri="{FF2B5EF4-FFF2-40B4-BE49-F238E27FC236}">
                <a16:creationId xmlns:a16="http://schemas.microsoft.com/office/drawing/2014/main" id="{71A30582-8F7C-C28E-4F02-4EFDB2EBC00E}"/>
              </a:ext>
            </a:extLst>
          </p:cNvPr>
          <p:cNvSpPr txBox="1"/>
          <p:nvPr/>
        </p:nvSpPr>
        <p:spPr>
          <a:xfrm>
            <a:off x="7883149" y="5199345"/>
            <a:ext cx="607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</a:rPr>
              <a:t>.</a:t>
            </a:r>
            <a:endParaRPr lang="pt-BR" sz="1200" b="1" dirty="0">
              <a:solidFill>
                <a:srgbClr val="C00000"/>
              </a:solidFill>
            </a:endParaRPr>
          </a:p>
        </p:txBody>
      </p:sp>
      <p:sp>
        <p:nvSpPr>
          <p:cNvPr id="92" name="Balão de Fala: Retângulo com Cantos Arredondados 91">
            <a:extLst>
              <a:ext uri="{FF2B5EF4-FFF2-40B4-BE49-F238E27FC236}">
                <a16:creationId xmlns:a16="http://schemas.microsoft.com/office/drawing/2014/main" id="{51780E15-31AE-6124-F2C6-F04A6F7AFA00}"/>
              </a:ext>
            </a:extLst>
          </p:cNvPr>
          <p:cNvSpPr/>
          <p:nvPr/>
        </p:nvSpPr>
        <p:spPr>
          <a:xfrm>
            <a:off x="9216096" y="4362979"/>
            <a:ext cx="2756298" cy="1098626"/>
          </a:xfrm>
          <a:prstGeom prst="wedgeRoundRectCallout">
            <a:avLst>
              <a:gd name="adj1" fmla="val -64752"/>
              <a:gd name="adj2" fmla="val 80077"/>
              <a:gd name="adj3" fmla="val 16667"/>
            </a:avLst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C00000"/>
                </a:solidFill>
              </a:rPr>
              <a:t>Somatório é sempre ≤ </a:t>
            </a:r>
          </a:p>
          <a:p>
            <a:pPr algn="ctr"/>
            <a:r>
              <a:rPr lang="pt-BR" b="1" dirty="0">
                <a:solidFill>
                  <a:srgbClr val="C00000"/>
                </a:solidFill>
              </a:rPr>
              <a:t>nº leitos X nº dias no mês</a:t>
            </a:r>
          </a:p>
        </p:txBody>
      </p:sp>
    </p:spTree>
    <p:extLst>
      <p:ext uri="{BB962C8B-B14F-4D97-AF65-F5344CB8AC3E}">
        <p14:creationId xmlns:p14="http://schemas.microsoft.com/office/powerpoint/2010/main" val="64039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91655-F67E-1A56-618F-B1D457DCC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F914545D-4A75-2372-D3DE-AF719D0B1C92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83F5D5F2-5537-EC0E-84F4-DD2F1347BBB0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5F2FC6B2-D7FF-8541-7307-564B6D534850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7E03E7EA-865C-7A8B-A085-EB6D76D1B815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17BC2AE7-56D6-DAB8-57C7-BA59099B0082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E780AD81-7C84-7162-D97F-3EDD9A0F3D4F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D4457991-4EE4-DCE4-34D7-DE5C06F1615A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43FC960A-2D6D-0BB2-7B78-CF16DBBD82B3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032FD227-7061-5B9F-182C-4C03A954D7E3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B50F70F9-A6AB-072C-0B44-52D197A73B5E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D48579A9-BF7C-26B7-426F-B8E1F7CC3F57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662C8A27-0AD0-6D8A-A4B2-04BC24202854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26F73B3B-7912-5ABE-F29B-5B5027078F70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65D1BBAE-642F-BA63-CA63-F300F9BFC6D9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99775351-C9C0-64C7-79E4-3A56C6366064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47AF4741-3F02-298B-83F0-59D5690F41F5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AFB38084-2D2B-A0AA-9853-F525EB8E0273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4F36B180-2EA6-F444-9B41-5A37DD15EEAA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A8BE1323-2A67-3330-189C-5E8BF7B515F9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4B714A7A-26F8-F7A4-5D10-48535BCB9158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2B8B2E6B-2988-E0A9-2C19-74BB96EDAB0C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C0B6E442-E128-1D87-1E41-5B278410909F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889DD4FE-4930-597E-DBE5-8B8E34B040AA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496DF0FF-B172-B224-784C-6142EE81BB8E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C291AD78-6C4C-9881-DAA8-462EB052E648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B92A5527-EF8A-03E4-A003-1FF1EABD908D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0838E92A-E1DF-C9ED-6E40-6A023D7ABBDA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6ABC54C4-4F10-42F7-706E-CD026FD6D122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5C1ABA3E-FDBA-7B3C-5646-1C84AAC80FAA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07ED6E27-1A65-4607-17F1-6D92E8DDA4F2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C4FDD46D-16CB-5075-82DC-AAD019300921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E2F5C976-D3A4-EF80-F41C-73EB25B9E2EA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674916C4-4D71-A81E-B90D-C7D1E470DAA2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FF127BDB-62F9-7D2B-89EC-595DB75F9043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0DFB30C9-D547-6155-EF6F-06EC6AB1A57B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80F88796-2490-A285-DFE5-DB565A4BCDBA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64C02229-AA25-FE76-E1A4-5FFE2E64BC68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EC6518C1-D028-C4F6-756C-E5EEF1B5A165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128C90E6-26EB-C54B-4730-A12B88660496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3E94D655-9AEB-F065-0F9C-3AE8833F9EAB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2AF1EC55-4251-5153-3710-A207B547E0F9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04E99BC9-1802-3C9D-E214-EA560D49C43B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06C42574-1EEA-7272-3BB5-60B6092DDDF4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6563B259-4E10-8F99-AE3E-87B1A3834542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BE6715FF-DF33-7382-3C21-EF3601425B44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nsiderações</a:t>
            </a:r>
          </a:p>
        </p:txBody>
      </p:sp>
      <p:sp>
        <p:nvSpPr>
          <p:cNvPr id="95" name="Google Shape;97;p15">
            <a:extLst>
              <a:ext uri="{FF2B5EF4-FFF2-40B4-BE49-F238E27FC236}">
                <a16:creationId xmlns:a16="http://schemas.microsoft.com/office/drawing/2014/main" id="{B19D79D7-2105-7231-DB8D-1DACDBBA8169}"/>
              </a:ext>
            </a:extLst>
          </p:cNvPr>
          <p:cNvSpPr txBox="1">
            <a:spLocks/>
          </p:cNvSpPr>
          <p:nvPr/>
        </p:nvSpPr>
        <p:spPr>
          <a:xfrm>
            <a:off x="865903" y="1851751"/>
            <a:ext cx="1051571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>
                <a:ea typeface="Calibri"/>
                <a:cs typeface="Calibri"/>
              </a:rPr>
              <a:t>É uma “fotografia” da UTI.</a:t>
            </a:r>
            <a:endParaRPr lang="pt-BR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endParaRPr lang="pt-BR" b="1" dirty="0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endParaRPr lang="pt-BR" b="1" dirty="0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r>
              <a:rPr lang="pt-BR" b="1"/>
              <a:t>Dispositivo-dia e paciente-dia: </a:t>
            </a:r>
            <a:r>
              <a:rPr lang="pt-BR" dirty="0"/>
              <a:t>somatório diário do número de pacientes em uso do dispositivo e dos pacientes internados. </a:t>
            </a:r>
            <a:endParaRPr lang="pt-BR" dirty="0">
              <a:ea typeface="Calibri"/>
              <a:cs typeface="Calibri"/>
            </a:endParaRPr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rgbClr val="000000"/>
              </a:buClr>
              <a:buSzPct val="100000"/>
            </a:pPr>
            <a:r>
              <a:rPr lang="pt-BR"/>
              <a:t>É </a:t>
            </a:r>
            <a:r>
              <a:rPr lang="pt-BR" b="1" dirty="0"/>
              <a:t>IMPORTANTE </a:t>
            </a:r>
            <a:r>
              <a:rPr lang="pt-BR" dirty="0"/>
              <a:t>definir o horário da coleta </a:t>
            </a:r>
            <a:r>
              <a:rPr lang="pt-BR"/>
              <a:t>dos dados</a:t>
            </a:r>
            <a:r>
              <a:rPr lang="pt-BR" dirty="0"/>
              <a:t> e qual o método </a:t>
            </a:r>
            <a:r>
              <a:rPr lang="pt-BR"/>
              <a:t>(equipe do setor, registro eletrônico, SCIH etc.)</a:t>
            </a:r>
            <a:endParaRPr lang="pt-BR">
              <a:ea typeface="Calibri"/>
              <a:cs typeface="Calibri"/>
            </a:endParaRPr>
          </a:p>
          <a:p>
            <a:pPr indent="-215265" algn="just"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buClr>
                <a:schemeClr val="dk1"/>
              </a:buClr>
              <a:buSzPct val="100000"/>
            </a:pPr>
            <a:endParaRPr lang="pt-BR" dirty="0"/>
          </a:p>
          <a:p>
            <a:pPr indent="-114300" algn="just">
              <a:buClr>
                <a:schemeClr val="dk1"/>
              </a:buClr>
              <a:buSzPct val="100000"/>
              <a:buFont typeface="Arial" panose="020B0604020202020204" pitchFamily="34" charset="0"/>
              <a:buNone/>
            </a:pPr>
            <a:endParaRPr lang="pt-BR" sz="1800" dirty="0"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9030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CFB12-EFC6-42E2-A58D-72678C045F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>
            <a:extLst>
              <a:ext uri="{FF2B5EF4-FFF2-40B4-BE49-F238E27FC236}">
                <a16:creationId xmlns:a16="http://schemas.microsoft.com/office/drawing/2014/main" id="{F011AE48-A41C-A7F3-F13D-4CCE4F2AA78C}"/>
              </a:ext>
            </a:extLst>
          </p:cNvPr>
          <p:cNvGrpSpPr/>
          <p:nvPr/>
        </p:nvGrpSpPr>
        <p:grpSpPr>
          <a:xfrm>
            <a:off x="304800" y="249455"/>
            <a:ext cx="1193800" cy="462985"/>
            <a:chOff x="5245100" y="211355"/>
            <a:chExt cx="2036664" cy="789869"/>
          </a:xfrm>
        </p:grpSpPr>
        <p:sp>
          <p:nvSpPr>
            <p:cNvPr id="3" name="Freeform: Shape 13">
              <a:extLst>
                <a:ext uri="{FF2B5EF4-FFF2-40B4-BE49-F238E27FC236}">
                  <a16:creationId xmlns:a16="http://schemas.microsoft.com/office/drawing/2014/main" id="{9F903D5B-1B9A-E50B-4A4A-58DC9B6234F7}"/>
                </a:ext>
              </a:extLst>
            </p:cNvPr>
            <p:cNvSpPr/>
            <p:nvPr/>
          </p:nvSpPr>
          <p:spPr>
            <a:xfrm>
              <a:off x="5245100" y="308520"/>
              <a:ext cx="247894" cy="322815"/>
            </a:xfrm>
            <a:custGeom>
              <a:avLst/>
              <a:gdLst>
                <a:gd name="connsiteX0" fmla="*/ 529590 w 986123"/>
                <a:gd name="connsiteY0" fmla="*/ 1284160 h 1284160"/>
                <a:gd name="connsiteX1" fmla="*/ 249650 w 986123"/>
                <a:gd name="connsiteY1" fmla="*/ 1235107 h 1284160"/>
                <a:gd name="connsiteX2" fmla="*/ 0 w 986123"/>
                <a:gd name="connsiteY2" fmla="*/ 1084421 h 1284160"/>
                <a:gd name="connsiteX3" fmla="*/ 162306 w 986123"/>
                <a:gd name="connsiteY3" fmla="*/ 890016 h 1284160"/>
                <a:gd name="connsiteX4" fmla="*/ 337947 w 986123"/>
                <a:gd name="connsiteY4" fmla="*/ 1000601 h 1284160"/>
                <a:gd name="connsiteX5" fmla="*/ 535019 w 986123"/>
                <a:gd name="connsiteY5" fmla="*/ 1041654 h 1284160"/>
                <a:gd name="connsiteX6" fmla="*/ 667893 w 986123"/>
                <a:gd name="connsiteY6" fmla="*/ 1010412 h 1284160"/>
                <a:gd name="connsiteX7" fmla="*/ 715137 w 986123"/>
                <a:gd name="connsiteY7" fmla="*/ 923925 h 1284160"/>
                <a:gd name="connsiteX8" fmla="*/ 715137 w 986123"/>
                <a:gd name="connsiteY8" fmla="*/ 920305 h 1284160"/>
                <a:gd name="connsiteX9" fmla="*/ 705326 w 986123"/>
                <a:gd name="connsiteY9" fmla="*/ 873062 h 1284160"/>
                <a:gd name="connsiteX10" fmla="*/ 667798 w 986123"/>
                <a:gd name="connsiteY10" fmla="*/ 834676 h 1284160"/>
                <a:gd name="connsiteX11" fmla="*/ 590931 w 986123"/>
                <a:gd name="connsiteY11" fmla="*/ 798957 h 1284160"/>
                <a:gd name="connsiteX12" fmla="*/ 463106 w 986123"/>
                <a:gd name="connsiteY12" fmla="*/ 761524 h 1284160"/>
                <a:gd name="connsiteX13" fmla="*/ 291465 w 986123"/>
                <a:gd name="connsiteY13" fmla="*/ 709803 h 1284160"/>
                <a:gd name="connsiteX14" fmla="*/ 160973 w 986123"/>
                <a:gd name="connsiteY14" fmla="*/ 639318 h 1284160"/>
                <a:gd name="connsiteX15" fmla="*/ 77819 w 986123"/>
                <a:gd name="connsiteY15" fmla="*/ 535019 h 1284160"/>
                <a:gd name="connsiteX16" fmla="*/ 48292 w 986123"/>
                <a:gd name="connsiteY16" fmla="*/ 379857 h 1284160"/>
                <a:gd name="connsiteX17" fmla="*/ 48292 w 986123"/>
                <a:gd name="connsiteY17" fmla="*/ 376238 h 1284160"/>
                <a:gd name="connsiteX18" fmla="*/ 80201 w 986123"/>
                <a:gd name="connsiteY18" fmla="*/ 222028 h 1284160"/>
                <a:gd name="connsiteX19" fmla="*/ 169640 w 986123"/>
                <a:gd name="connsiteY19" fmla="*/ 103441 h 1284160"/>
                <a:gd name="connsiteX20" fmla="*/ 307181 w 986123"/>
                <a:gd name="connsiteY20" fmla="*/ 26765 h 1284160"/>
                <a:gd name="connsiteX21" fmla="*/ 483394 w 986123"/>
                <a:gd name="connsiteY21" fmla="*/ 0 h 1284160"/>
                <a:gd name="connsiteX22" fmla="*/ 735711 w 986123"/>
                <a:gd name="connsiteY22" fmla="*/ 41053 h 1284160"/>
                <a:gd name="connsiteX23" fmla="*/ 946976 w 986123"/>
                <a:gd name="connsiteY23" fmla="*/ 158687 h 1284160"/>
                <a:gd name="connsiteX24" fmla="*/ 804291 w 986123"/>
                <a:gd name="connsiteY24" fmla="*/ 365569 h 1284160"/>
                <a:gd name="connsiteX25" fmla="*/ 640271 w 986123"/>
                <a:gd name="connsiteY25" fmla="*/ 275558 h 1284160"/>
                <a:gd name="connsiteX26" fmla="*/ 479774 w 986123"/>
                <a:gd name="connsiteY26" fmla="*/ 242602 h 1284160"/>
                <a:gd name="connsiteX27" fmla="*/ 359378 w 986123"/>
                <a:gd name="connsiteY27" fmla="*/ 273844 h 1284160"/>
                <a:gd name="connsiteX28" fmla="*/ 319278 w 986123"/>
                <a:gd name="connsiteY28" fmla="*/ 351377 h 1284160"/>
                <a:gd name="connsiteX29" fmla="*/ 319278 w 986123"/>
                <a:gd name="connsiteY29" fmla="*/ 354997 h 1284160"/>
                <a:gd name="connsiteX30" fmla="*/ 330899 w 986123"/>
                <a:gd name="connsiteY30" fmla="*/ 407575 h 1284160"/>
                <a:gd name="connsiteX31" fmla="*/ 372904 w 986123"/>
                <a:gd name="connsiteY31" fmla="*/ 447675 h 1284160"/>
                <a:gd name="connsiteX32" fmla="*/ 456057 w 986123"/>
                <a:gd name="connsiteY32" fmla="*/ 481489 h 1284160"/>
                <a:gd name="connsiteX33" fmla="*/ 589217 w 986123"/>
                <a:gd name="connsiteY33" fmla="*/ 518922 h 1284160"/>
                <a:gd name="connsiteX34" fmla="*/ 758190 w 986123"/>
                <a:gd name="connsiteY34" fmla="*/ 575120 h 1284160"/>
                <a:gd name="connsiteX35" fmla="*/ 883349 w 986123"/>
                <a:gd name="connsiteY35" fmla="*/ 649986 h 1284160"/>
                <a:gd name="connsiteX36" fmla="*/ 960215 w 986123"/>
                <a:gd name="connsiteY36" fmla="*/ 752570 h 1284160"/>
                <a:gd name="connsiteX37" fmla="*/ 986123 w 986123"/>
                <a:gd name="connsiteY37" fmla="*/ 893445 h 1284160"/>
                <a:gd name="connsiteX38" fmla="*/ 986123 w 986123"/>
                <a:gd name="connsiteY38" fmla="*/ 897064 h 1284160"/>
                <a:gd name="connsiteX39" fmla="*/ 952500 w 986123"/>
                <a:gd name="connsiteY39" fmla="*/ 1062038 h 1284160"/>
                <a:gd name="connsiteX40" fmla="*/ 858584 w 986123"/>
                <a:gd name="connsiteY40" fmla="*/ 1183291 h 1284160"/>
                <a:gd name="connsiteX41" fmla="*/ 714851 w 986123"/>
                <a:gd name="connsiteY41" fmla="*/ 1258157 h 1284160"/>
                <a:gd name="connsiteX42" fmla="*/ 529685 w 986123"/>
                <a:gd name="connsiteY42" fmla="*/ 1284065 h 128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86123" h="1284160">
                  <a:moveTo>
                    <a:pt x="529590" y="1284160"/>
                  </a:moveTo>
                  <a:cubicBezTo>
                    <a:pt x="434435" y="1284160"/>
                    <a:pt x="341186" y="1267777"/>
                    <a:pt x="249650" y="1235107"/>
                  </a:cubicBezTo>
                  <a:cubicBezTo>
                    <a:pt x="158115" y="1202436"/>
                    <a:pt x="74867" y="1152239"/>
                    <a:pt x="0" y="1084421"/>
                  </a:cubicBezTo>
                  <a:lnTo>
                    <a:pt x="162306" y="890016"/>
                  </a:lnTo>
                  <a:cubicBezTo>
                    <a:pt x="219361" y="936403"/>
                    <a:pt x="277844" y="973264"/>
                    <a:pt x="337947" y="1000601"/>
                  </a:cubicBezTo>
                  <a:cubicBezTo>
                    <a:pt x="397955" y="1027938"/>
                    <a:pt x="463677" y="1041654"/>
                    <a:pt x="535019" y="1041654"/>
                  </a:cubicBezTo>
                  <a:cubicBezTo>
                    <a:pt x="592074" y="1041654"/>
                    <a:pt x="636365" y="1031272"/>
                    <a:pt x="667893" y="1010412"/>
                  </a:cubicBezTo>
                  <a:cubicBezTo>
                    <a:pt x="699421" y="989647"/>
                    <a:pt x="715137" y="960787"/>
                    <a:pt x="715137" y="923925"/>
                  </a:cubicBezTo>
                  <a:lnTo>
                    <a:pt x="715137" y="920305"/>
                  </a:lnTo>
                  <a:cubicBezTo>
                    <a:pt x="715137" y="902494"/>
                    <a:pt x="711803" y="886777"/>
                    <a:pt x="705326" y="873062"/>
                  </a:cubicBezTo>
                  <a:cubicBezTo>
                    <a:pt x="698754" y="859441"/>
                    <a:pt x="686276" y="846582"/>
                    <a:pt x="667798" y="834676"/>
                  </a:cubicBezTo>
                  <a:cubicBezTo>
                    <a:pt x="649319" y="822770"/>
                    <a:pt x="623697" y="810863"/>
                    <a:pt x="590931" y="798957"/>
                  </a:cubicBezTo>
                  <a:cubicBezTo>
                    <a:pt x="558165" y="787146"/>
                    <a:pt x="515493" y="774573"/>
                    <a:pt x="463106" y="761524"/>
                  </a:cubicBezTo>
                  <a:cubicBezTo>
                    <a:pt x="399955" y="746093"/>
                    <a:pt x="342710" y="728853"/>
                    <a:pt x="291465" y="709803"/>
                  </a:cubicBezTo>
                  <a:cubicBezTo>
                    <a:pt x="240221" y="690753"/>
                    <a:pt x="196691" y="667322"/>
                    <a:pt x="160973" y="639318"/>
                  </a:cubicBezTo>
                  <a:cubicBezTo>
                    <a:pt x="125159" y="611410"/>
                    <a:pt x="97536" y="576644"/>
                    <a:pt x="77819" y="535019"/>
                  </a:cubicBezTo>
                  <a:cubicBezTo>
                    <a:pt x="58103" y="493395"/>
                    <a:pt x="48292" y="441674"/>
                    <a:pt x="48292" y="379857"/>
                  </a:cubicBezTo>
                  <a:lnTo>
                    <a:pt x="48292" y="376238"/>
                  </a:lnTo>
                  <a:cubicBezTo>
                    <a:pt x="48292" y="319183"/>
                    <a:pt x="58865" y="267748"/>
                    <a:pt x="80201" y="222028"/>
                  </a:cubicBezTo>
                  <a:cubicBezTo>
                    <a:pt x="101441" y="176308"/>
                    <a:pt x="131255" y="136779"/>
                    <a:pt x="169640" y="103441"/>
                  </a:cubicBezTo>
                  <a:cubicBezTo>
                    <a:pt x="208026" y="70199"/>
                    <a:pt x="253841" y="44577"/>
                    <a:pt x="307181" y="26765"/>
                  </a:cubicBezTo>
                  <a:cubicBezTo>
                    <a:pt x="360426" y="8953"/>
                    <a:pt x="419195" y="0"/>
                    <a:pt x="483394" y="0"/>
                  </a:cubicBezTo>
                  <a:cubicBezTo>
                    <a:pt x="574929" y="0"/>
                    <a:pt x="659035" y="13716"/>
                    <a:pt x="735711" y="41053"/>
                  </a:cubicBezTo>
                  <a:cubicBezTo>
                    <a:pt x="812387" y="68389"/>
                    <a:pt x="882777" y="107632"/>
                    <a:pt x="946976" y="158687"/>
                  </a:cubicBezTo>
                  <a:lnTo>
                    <a:pt x="804291" y="365569"/>
                  </a:lnTo>
                  <a:cubicBezTo>
                    <a:pt x="748379" y="327565"/>
                    <a:pt x="693706" y="297561"/>
                    <a:pt x="640271" y="275558"/>
                  </a:cubicBezTo>
                  <a:cubicBezTo>
                    <a:pt x="586740" y="253555"/>
                    <a:pt x="533305" y="242602"/>
                    <a:pt x="479774" y="242602"/>
                  </a:cubicBezTo>
                  <a:cubicBezTo>
                    <a:pt x="426244" y="242602"/>
                    <a:pt x="386144" y="252984"/>
                    <a:pt x="359378" y="273844"/>
                  </a:cubicBezTo>
                  <a:cubicBezTo>
                    <a:pt x="332613" y="294608"/>
                    <a:pt x="319278" y="320516"/>
                    <a:pt x="319278" y="351377"/>
                  </a:cubicBezTo>
                  <a:lnTo>
                    <a:pt x="319278" y="354997"/>
                  </a:lnTo>
                  <a:cubicBezTo>
                    <a:pt x="319278" y="375190"/>
                    <a:pt x="323183" y="392716"/>
                    <a:pt x="330899" y="407575"/>
                  </a:cubicBezTo>
                  <a:cubicBezTo>
                    <a:pt x="338614" y="422434"/>
                    <a:pt x="352616" y="435864"/>
                    <a:pt x="372904" y="447675"/>
                  </a:cubicBezTo>
                  <a:cubicBezTo>
                    <a:pt x="393192" y="459581"/>
                    <a:pt x="420910" y="470821"/>
                    <a:pt x="456057" y="481489"/>
                  </a:cubicBezTo>
                  <a:cubicBezTo>
                    <a:pt x="491204" y="492157"/>
                    <a:pt x="535591" y="504730"/>
                    <a:pt x="589217" y="518922"/>
                  </a:cubicBezTo>
                  <a:cubicBezTo>
                    <a:pt x="652367" y="535591"/>
                    <a:pt x="708660" y="554260"/>
                    <a:pt x="758190" y="575120"/>
                  </a:cubicBezTo>
                  <a:cubicBezTo>
                    <a:pt x="807625" y="595979"/>
                    <a:pt x="849344" y="620935"/>
                    <a:pt x="883349" y="649986"/>
                  </a:cubicBezTo>
                  <a:cubicBezTo>
                    <a:pt x="917353" y="679132"/>
                    <a:pt x="942975" y="713327"/>
                    <a:pt x="960215" y="752570"/>
                  </a:cubicBezTo>
                  <a:cubicBezTo>
                    <a:pt x="977456" y="791813"/>
                    <a:pt x="986123" y="838772"/>
                    <a:pt x="986123" y="893445"/>
                  </a:cubicBezTo>
                  <a:lnTo>
                    <a:pt x="986123" y="897064"/>
                  </a:lnTo>
                  <a:cubicBezTo>
                    <a:pt x="986123" y="958882"/>
                    <a:pt x="974884" y="1013841"/>
                    <a:pt x="952500" y="1062038"/>
                  </a:cubicBezTo>
                  <a:cubicBezTo>
                    <a:pt x="930021" y="1110139"/>
                    <a:pt x="898779" y="1150620"/>
                    <a:pt x="858584" y="1183291"/>
                  </a:cubicBezTo>
                  <a:cubicBezTo>
                    <a:pt x="818388" y="1216057"/>
                    <a:pt x="770477" y="1241012"/>
                    <a:pt x="714851" y="1258157"/>
                  </a:cubicBezTo>
                  <a:cubicBezTo>
                    <a:pt x="659130" y="1275398"/>
                    <a:pt x="597503" y="1284065"/>
                    <a:pt x="529685" y="1284065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C5643EA2-85B2-174D-50FE-3DA5D5723CBC}"/>
                </a:ext>
              </a:extLst>
            </p:cNvPr>
            <p:cNvSpPr/>
            <p:nvPr/>
          </p:nvSpPr>
          <p:spPr>
            <a:xfrm>
              <a:off x="5492084" y="310867"/>
              <a:ext cx="332584" cy="315991"/>
            </a:xfrm>
            <a:custGeom>
              <a:avLst/>
              <a:gdLst>
                <a:gd name="connsiteX0" fmla="*/ 534924 w 1323022"/>
                <a:gd name="connsiteY0" fmla="*/ 0 h 1257014"/>
                <a:gd name="connsiteX1" fmla="*/ 788099 w 1323022"/>
                <a:gd name="connsiteY1" fmla="*/ 0 h 1257014"/>
                <a:gd name="connsiteX2" fmla="*/ 1323023 w 1323022"/>
                <a:gd name="connsiteY2" fmla="*/ 1257014 h 1257014"/>
                <a:gd name="connsiteX3" fmla="*/ 1035939 w 1323022"/>
                <a:gd name="connsiteY3" fmla="*/ 1257014 h 1257014"/>
                <a:gd name="connsiteX4" fmla="*/ 921829 w 1323022"/>
                <a:gd name="connsiteY4" fmla="*/ 977075 h 1257014"/>
                <a:gd name="connsiteX5" fmla="*/ 394049 w 1323022"/>
                <a:gd name="connsiteY5" fmla="*/ 977075 h 1257014"/>
                <a:gd name="connsiteX6" fmla="*/ 279940 w 1323022"/>
                <a:gd name="connsiteY6" fmla="*/ 1257014 h 1257014"/>
                <a:gd name="connsiteX7" fmla="*/ 0 w 1323022"/>
                <a:gd name="connsiteY7" fmla="*/ 1257014 h 1257014"/>
                <a:gd name="connsiteX8" fmla="*/ 534924 w 1323022"/>
                <a:gd name="connsiteY8" fmla="*/ 0 h 1257014"/>
                <a:gd name="connsiteX9" fmla="*/ 823817 w 1323022"/>
                <a:gd name="connsiteY9" fmla="*/ 734568 h 1257014"/>
                <a:gd name="connsiteX10" fmla="*/ 657987 w 1323022"/>
                <a:gd name="connsiteY10" fmla="*/ 329851 h 1257014"/>
                <a:gd name="connsiteX11" fmla="*/ 492157 w 1323022"/>
                <a:gd name="connsiteY11" fmla="*/ 734568 h 1257014"/>
                <a:gd name="connsiteX12" fmla="*/ 823817 w 1323022"/>
                <a:gd name="connsiteY12" fmla="*/ 734568 h 12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3022" h="1257014">
                  <a:moveTo>
                    <a:pt x="534924" y="0"/>
                  </a:moveTo>
                  <a:lnTo>
                    <a:pt x="788099" y="0"/>
                  </a:lnTo>
                  <a:lnTo>
                    <a:pt x="1323023" y="1257014"/>
                  </a:lnTo>
                  <a:lnTo>
                    <a:pt x="1035939" y="1257014"/>
                  </a:lnTo>
                  <a:lnTo>
                    <a:pt x="921829" y="977075"/>
                  </a:lnTo>
                  <a:lnTo>
                    <a:pt x="394049" y="977075"/>
                  </a:lnTo>
                  <a:lnTo>
                    <a:pt x="279940" y="1257014"/>
                  </a:lnTo>
                  <a:lnTo>
                    <a:pt x="0" y="1257014"/>
                  </a:lnTo>
                  <a:lnTo>
                    <a:pt x="534924" y="0"/>
                  </a:lnTo>
                  <a:close/>
                  <a:moveTo>
                    <a:pt x="823817" y="734568"/>
                  </a:moveTo>
                  <a:lnTo>
                    <a:pt x="657987" y="329851"/>
                  </a:lnTo>
                  <a:lnTo>
                    <a:pt x="492157" y="734568"/>
                  </a:lnTo>
                  <a:lnTo>
                    <a:pt x="823817" y="73456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5" name="Freeform: Shape 17">
              <a:extLst>
                <a:ext uri="{FF2B5EF4-FFF2-40B4-BE49-F238E27FC236}">
                  <a16:creationId xmlns:a16="http://schemas.microsoft.com/office/drawing/2014/main" id="{78D11BAB-B09B-BF6F-6F59-D9666B674218}"/>
                </a:ext>
              </a:extLst>
            </p:cNvPr>
            <p:cNvSpPr/>
            <p:nvPr/>
          </p:nvSpPr>
          <p:spPr>
            <a:xfrm>
              <a:off x="5834078" y="211355"/>
              <a:ext cx="273442" cy="420435"/>
            </a:xfrm>
            <a:custGeom>
              <a:avLst/>
              <a:gdLst>
                <a:gd name="connsiteX0" fmla="*/ 540258 w 1087754"/>
                <a:gd name="connsiteY0" fmla="*/ 1672495 h 1672494"/>
                <a:gd name="connsiteX1" fmla="*/ 144399 w 1087754"/>
                <a:gd name="connsiteY1" fmla="*/ 1533430 h 1672494"/>
                <a:gd name="connsiteX2" fmla="*/ 0 w 1087754"/>
                <a:gd name="connsiteY2" fmla="*/ 1117949 h 1672494"/>
                <a:gd name="connsiteX3" fmla="*/ 0 w 1087754"/>
                <a:gd name="connsiteY3" fmla="*/ 404717 h 1672494"/>
                <a:gd name="connsiteX4" fmla="*/ 274606 w 1087754"/>
                <a:gd name="connsiteY4" fmla="*/ 404717 h 1672494"/>
                <a:gd name="connsiteX5" fmla="*/ 274606 w 1087754"/>
                <a:gd name="connsiteY5" fmla="*/ 1110806 h 1672494"/>
                <a:gd name="connsiteX6" fmla="*/ 345948 w 1087754"/>
                <a:gd name="connsiteY6" fmla="*/ 1341692 h 1672494"/>
                <a:gd name="connsiteX7" fmla="*/ 543877 w 1087754"/>
                <a:gd name="connsiteY7" fmla="*/ 1419225 h 1672494"/>
                <a:gd name="connsiteX8" fmla="*/ 741807 w 1087754"/>
                <a:gd name="connsiteY8" fmla="*/ 1344359 h 1672494"/>
                <a:gd name="connsiteX9" fmla="*/ 813149 w 1087754"/>
                <a:gd name="connsiteY9" fmla="*/ 1119664 h 1672494"/>
                <a:gd name="connsiteX10" fmla="*/ 813149 w 1087754"/>
                <a:gd name="connsiteY10" fmla="*/ 404717 h 1672494"/>
                <a:gd name="connsiteX11" fmla="*/ 1087755 w 1087754"/>
                <a:gd name="connsiteY11" fmla="*/ 404717 h 1672494"/>
                <a:gd name="connsiteX12" fmla="*/ 1087755 w 1087754"/>
                <a:gd name="connsiteY12" fmla="*/ 1108996 h 1672494"/>
                <a:gd name="connsiteX13" fmla="*/ 1049369 w 1087754"/>
                <a:gd name="connsiteY13" fmla="*/ 1356836 h 1672494"/>
                <a:gd name="connsiteX14" fmla="*/ 939737 w 1087754"/>
                <a:gd name="connsiteY14" fmla="*/ 1532477 h 1672494"/>
                <a:gd name="connsiteX15" fmla="*/ 766763 w 1087754"/>
                <a:gd name="connsiteY15" fmla="*/ 1637729 h 1672494"/>
                <a:gd name="connsiteX16" fmla="*/ 540353 w 1087754"/>
                <a:gd name="connsiteY16" fmla="*/ 1672495 h 1672494"/>
                <a:gd name="connsiteX17" fmla="*/ 622268 w 1087754"/>
                <a:gd name="connsiteY17" fmla="*/ 0 h 1672494"/>
                <a:gd name="connsiteX18" fmla="*/ 855821 w 1087754"/>
                <a:gd name="connsiteY18" fmla="*/ 101632 h 1672494"/>
                <a:gd name="connsiteX19" fmla="*/ 627602 w 1087754"/>
                <a:gd name="connsiteY19" fmla="*/ 315563 h 1672494"/>
                <a:gd name="connsiteX20" fmla="*/ 420719 w 1087754"/>
                <a:gd name="connsiteY20" fmla="*/ 315563 h 1672494"/>
                <a:gd name="connsiteX21" fmla="*/ 622268 w 1087754"/>
                <a:gd name="connsiteY21" fmla="*/ 0 h 167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754" h="1672494">
                  <a:moveTo>
                    <a:pt x="540258" y="1672495"/>
                  </a:moveTo>
                  <a:cubicBezTo>
                    <a:pt x="372618" y="1672495"/>
                    <a:pt x="240697" y="1626108"/>
                    <a:pt x="144399" y="1533430"/>
                  </a:cubicBezTo>
                  <a:cubicBezTo>
                    <a:pt x="48101" y="1440752"/>
                    <a:pt x="0" y="1302258"/>
                    <a:pt x="0" y="1117949"/>
                  </a:cubicBezTo>
                  <a:lnTo>
                    <a:pt x="0" y="404717"/>
                  </a:lnTo>
                  <a:lnTo>
                    <a:pt x="274606" y="404717"/>
                  </a:lnTo>
                  <a:lnTo>
                    <a:pt x="274606" y="1110806"/>
                  </a:lnTo>
                  <a:cubicBezTo>
                    <a:pt x="274606" y="1213009"/>
                    <a:pt x="298418" y="1289971"/>
                    <a:pt x="345948" y="1341692"/>
                  </a:cubicBezTo>
                  <a:cubicBezTo>
                    <a:pt x="393478" y="1393412"/>
                    <a:pt x="459486" y="1419225"/>
                    <a:pt x="543877" y="1419225"/>
                  </a:cubicBezTo>
                  <a:cubicBezTo>
                    <a:pt x="628269" y="1419225"/>
                    <a:pt x="694277" y="1394270"/>
                    <a:pt x="741807" y="1344359"/>
                  </a:cubicBezTo>
                  <a:cubicBezTo>
                    <a:pt x="789337" y="1294448"/>
                    <a:pt x="813149" y="1219581"/>
                    <a:pt x="813149" y="1119664"/>
                  </a:cubicBezTo>
                  <a:lnTo>
                    <a:pt x="813149" y="404717"/>
                  </a:lnTo>
                  <a:lnTo>
                    <a:pt x="1087755" y="404717"/>
                  </a:lnTo>
                  <a:lnTo>
                    <a:pt x="1087755" y="1108996"/>
                  </a:lnTo>
                  <a:cubicBezTo>
                    <a:pt x="1087755" y="1204151"/>
                    <a:pt x="1074992" y="1286732"/>
                    <a:pt x="1049369" y="1356836"/>
                  </a:cubicBezTo>
                  <a:cubicBezTo>
                    <a:pt x="1023747" y="1426940"/>
                    <a:pt x="987266" y="1485519"/>
                    <a:pt x="939737" y="1532477"/>
                  </a:cubicBezTo>
                  <a:cubicBezTo>
                    <a:pt x="892207" y="1579436"/>
                    <a:pt x="834485" y="1614488"/>
                    <a:pt x="766763" y="1637729"/>
                  </a:cubicBezTo>
                  <a:cubicBezTo>
                    <a:pt x="699040" y="1660874"/>
                    <a:pt x="623507" y="1672495"/>
                    <a:pt x="540353" y="1672495"/>
                  </a:cubicBezTo>
                  <a:close/>
                  <a:moveTo>
                    <a:pt x="622268" y="0"/>
                  </a:moveTo>
                  <a:lnTo>
                    <a:pt x="855821" y="101632"/>
                  </a:lnTo>
                  <a:lnTo>
                    <a:pt x="627602" y="315563"/>
                  </a:lnTo>
                  <a:lnTo>
                    <a:pt x="420719" y="315563"/>
                  </a:lnTo>
                  <a:lnTo>
                    <a:pt x="622268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6" name="Freeform: Shape 18">
              <a:extLst>
                <a:ext uri="{FF2B5EF4-FFF2-40B4-BE49-F238E27FC236}">
                  <a16:creationId xmlns:a16="http://schemas.microsoft.com/office/drawing/2014/main" id="{B3CE4A12-BD00-CAD3-1190-5F7D10859FFE}"/>
                </a:ext>
              </a:extLst>
            </p:cNvPr>
            <p:cNvSpPr/>
            <p:nvPr/>
          </p:nvSpPr>
          <p:spPr>
            <a:xfrm>
              <a:off x="6143795" y="313094"/>
              <a:ext cx="289101" cy="313764"/>
            </a:xfrm>
            <a:custGeom>
              <a:avLst/>
              <a:gdLst>
                <a:gd name="connsiteX0" fmla="*/ 0 w 1150048"/>
                <a:gd name="connsiteY0" fmla="*/ 0 h 1248155"/>
                <a:gd name="connsiteX1" fmla="*/ 486728 w 1150048"/>
                <a:gd name="connsiteY1" fmla="*/ 0 h 1248155"/>
                <a:gd name="connsiteX2" fmla="*/ 755047 w 1150048"/>
                <a:gd name="connsiteY2" fmla="*/ 47244 h 1248155"/>
                <a:gd name="connsiteX3" fmla="*/ 965454 w 1150048"/>
                <a:gd name="connsiteY3" fmla="*/ 178308 h 1248155"/>
                <a:gd name="connsiteX4" fmla="*/ 1101852 w 1150048"/>
                <a:gd name="connsiteY4" fmla="*/ 375380 h 1248155"/>
                <a:gd name="connsiteX5" fmla="*/ 1150049 w 1150048"/>
                <a:gd name="connsiteY5" fmla="*/ 620554 h 1248155"/>
                <a:gd name="connsiteX6" fmla="*/ 1150049 w 1150048"/>
                <a:gd name="connsiteY6" fmla="*/ 624173 h 1248155"/>
                <a:gd name="connsiteX7" fmla="*/ 1101852 w 1150048"/>
                <a:gd name="connsiteY7" fmla="*/ 870204 h 1248155"/>
                <a:gd name="connsiteX8" fmla="*/ 965454 w 1150048"/>
                <a:gd name="connsiteY8" fmla="*/ 1068134 h 1248155"/>
                <a:gd name="connsiteX9" fmla="*/ 755047 w 1150048"/>
                <a:gd name="connsiteY9" fmla="*/ 1200055 h 1248155"/>
                <a:gd name="connsiteX10" fmla="*/ 486728 w 1150048"/>
                <a:gd name="connsiteY10" fmla="*/ 1248156 h 1248155"/>
                <a:gd name="connsiteX11" fmla="*/ 0 w 1150048"/>
                <a:gd name="connsiteY11" fmla="*/ 1248156 h 1248155"/>
                <a:gd name="connsiteX12" fmla="*/ 0 w 1150048"/>
                <a:gd name="connsiteY12" fmla="*/ 0 h 1248155"/>
                <a:gd name="connsiteX13" fmla="*/ 486728 w 1150048"/>
                <a:gd name="connsiteY13" fmla="*/ 1000315 h 1248155"/>
                <a:gd name="connsiteX14" fmla="*/ 640080 w 1150048"/>
                <a:gd name="connsiteY14" fmla="*/ 973550 h 1248155"/>
                <a:gd name="connsiteX15" fmla="*/ 758667 w 1150048"/>
                <a:gd name="connsiteY15" fmla="*/ 896874 h 1248155"/>
                <a:gd name="connsiteX16" fmla="*/ 835343 w 1150048"/>
                <a:gd name="connsiteY16" fmla="*/ 779240 h 1248155"/>
                <a:gd name="connsiteX17" fmla="*/ 862965 w 1150048"/>
                <a:gd name="connsiteY17" fmla="*/ 627698 h 1248155"/>
                <a:gd name="connsiteX18" fmla="*/ 862965 w 1150048"/>
                <a:gd name="connsiteY18" fmla="*/ 624078 h 1248155"/>
                <a:gd name="connsiteX19" fmla="*/ 835343 w 1150048"/>
                <a:gd name="connsiteY19" fmla="*/ 472535 h 1248155"/>
                <a:gd name="connsiteX20" fmla="*/ 758667 w 1150048"/>
                <a:gd name="connsiteY20" fmla="*/ 353092 h 1248155"/>
                <a:gd name="connsiteX21" fmla="*/ 640080 w 1150048"/>
                <a:gd name="connsiteY21" fmla="*/ 275558 h 1248155"/>
                <a:gd name="connsiteX22" fmla="*/ 486728 w 1150048"/>
                <a:gd name="connsiteY22" fmla="*/ 247936 h 1248155"/>
                <a:gd name="connsiteX23" fmla="*/ 274511 w 1150048"/>
                <a:gd name="connsiteY23" fmla="*/ 247936 h 1248155"/>
                <a:gd name="connsiteX24" fmla="*/ 274511 w 1150048"/>
                <a:gd name="connsiteY24" fmla="*/ 1000411 h 1248155"/>
                <a:gd name="connsiteX25" fmla="*/ 486728 w 1150048"/>
                <a:gd name="connsiteY25" fmla="*/ 1000411 h 124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0048" h="1248155">
                  <a:moveTo>
                    <a:pt x="0" y="0"/>
                  </a:moveTo>
                  <a:lnTo>
                    <a:pt x="486728" y="0"/>
                  </a:lnTo>
                  <a:cubicBezTo>
                    <a:pt x="584168" y="0"/>
                    <a:pt x="673608" y="15811"/>
                    <a:pt x="755047" y="47244"/>
                  </a:cubicBezTo>
                  <a:cubicBezTo>
                    <a:pt x="836486" y="78772"/>
                    <a:pt x="906590" y="122396"/>
                    <a:pt x="965454" y="178308"/>
                  </a:cubicBezTo>
                  <a:cubicBezTo>
                    <a:pt x="1024319" y="234220"/>
                    <a:pt x="1069753" y="299847"/>
                    <a:pt x="1101852" y="375380"/>
                  </a:cubicBezTo>
                  <a:cubicBezTo>
                    <a:pt x="1133951" y="450914"/>
                    <a:pt x="1150049" y="532543"/>
                    <a:pt x="1150049" y="620554"/>
                  </a:cubicBezTo>
                  <a:lnTo>
                    <a:pt x="1150049" y="624173"/>
                  </a:lnTo>
                  <a:cubicBezTo>
                    <a:pt x="1150049" y="712184"/>
                    <a:pt x="1133951" y="794195"/>
                    <a:pt x="1101852" y="870204"/>
                  </a:cubicBezTo>
                  <a:cubicBezTo>
                    <a:pt x="1069753" y="946309"/>
                    <a:pt x="1024319" y="1012222"/>
                    <a:pt x="965454" y="1068134"/>
                  </a:cubicBezTo>
                  <a:cubicBezTo>
                    <a:pt x="906590" y="1124045"/>
                    <a:pt x="836486" y="1167956"/>
                    <a:pt x="755047" y="1200055"/>
                  </a:cubicBezTo>
                  <a:cubicBezTo>
                    <a:pt x="673608" y="1232154"/>
                    <a:pt x="584168" y="1248156"/>
                    <a:pt x="486728" y="1248156"/>
                  </a:cubicBezTo>
                  <a:lnTo>
                    <a:pt x="0" y="1248156"/>
                  </a:lnTo>
                  <a:lnTo>
                    <a:pt x="0" y="0"/>
                  </a:lnTo>
                  <a:close/>
                  <a:moveTo>
                    <a:pt x="486728" y="1000315"/>
                  </a:moveTo>
                  <a:cubicBezTo>
                    <a:pt x="542639" y="1000315"/>
                    <a:pt x="593693" y="991457"/>
                    <a:pt x="640080" y="973550"/>
                  </a:cubicBezTo>
                  <a:cubicBezTo>
                    <a:pt x="686467" y="955739"/>
                    <a:pt x="725900" y="930211"/>
                    <a:pt x="758667" y="896874"/>
                  </a:cubicBezTo>
                  <a:cubicBezTo>
                    <a:pt x="791337" y="863632"/>
                    <a:pt x="816864" y="824389"/>
                    <a:pt x="835343" y="779240"/>
                  </a:cubicBezTo>
                  <a:cubicBezTo>
                    <a:pt x="853726" y="734092"/>
                    <a:pt x="862965" y="683609"/>
                    <a:pt x="862965" y="627698"/>
                  </a:cubicBezTo>
                  <a:lnTo>
                    <a:pt x="862965" y="624078"/>
                  </a:lnTo>
                  <a:cubicBezTo>
                    <a:pt x="862965" y="569404"/>
                    <a:pt x="853726" y="518827"/>
                    <a:pt x="835343" y="472535"/>
                  </a:cubicBezTo>
                  <a:cubicBezTo>
                    <a:pt x="816864" y="426149"/>
                    <a:pt x="791337" y="386334"/>
                    <a:pt x="758667" y="353092"/>
                  </a:cubicBezTo>
                  <a:cubicBezTo>
                    <a:pt x="725996" y="319849"/>
                    <a:pt x="686467" y="293941"/>
                    <a:pt x="640080" y="275558"/>
                  </a:cubicBezTo>
                  <a:cubicBezTo>
                    <a:pt x="593693" y="257175"/>
                    <a:pt x="542639" y="247936"/>
                    <a:pt x="486728" y="247936"/>
                  </a:cubicBezTo>
                  <a:lnTo>
                    <a:pt x="274511" y="247936"/>
                  </a:lnTo>
                  <a:lnTo>
                    <a:pt x="274511" y="1000411"/>
                  </a:lnTo>
                  <a:lnTo>
                    <a:pt x="486728" y="1000411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7" name="Freeform: Shape 19">
              <a:extLst>
                <a:ext uri="{FF2B5EF4-FFF2-40B4-BE49-F238E27FC236}">
                  <a16:creationId xmlns:a16="http://schemas.microsoft.com/office/drawing/2014/main" id="{3CDD100F-85EF-0B69-97A0-4EC46B0BB189}"/>
                </a:ext>
              </a:extLst>
            </p:cNvPr>
            <p:cNvSpPr/>
            <p:nvPr/>
          </p:nvSpPr>
          <p:spPr>
            <a:xfrm>
              <a:off x="6460217" y="313094"/>
              <a:ext cx="238459" cy="313788"/>
            </a:xfrm>
            <a:custGeom>
              <a:avLst/>
              <a:gdLst>
                <a:gd name="connsiteX0" fmla="*/ 95 w 948594"/>
                <a:gd name="connsiteY0" fmla="*/ 0 h 1248251"/>
                <a:gd name="connsiteX1" fmla="*/ 939737 w 948594"/>
                <a:gd name="connsiteY1" fmla="*/ 0 h 1248251"/>
                <a:gd name="connsiteX2" fmla="*/ 939737 w 948594"/>
                <a:gd name="connsiteY2" fmla="*/ 244316 h 1248251"/>
                <a:gd name="connsiteX3" fmla="*/ 271081 w 948594"/>
                <a:gd name="connsiteY3" fmla="*/ 244316 h 1248251"/>
                <a:gd name="connsiteX4" fmla="*/ 271081 w 948594"/>
                <a:gd name="connsiteY4" fmla="*/ 497491 h 1248251"/>
                <a:gd name="connsiteX5" fmla="*/ 859441 w 948594"/>
                <a:gd name="connsiteY5" fmla="*/ 497491 h 1248251"/>
                <a:gd name="connsiteX6" fmla="*/ 859441 w 948594"/>
                <a:gd name="connsiteY6" fmla="*/ 741807 h 1248251"/>
                <a:gd name="connsiteX7" fmla="*/ 271081 w 948594"/>
                <a:gd name="connsiteY7" fmla="*/ 741807 h 1248251"/>
                <a:gd name="connsiteX8" fmla="*/ 271081 w 948594"/>
                <a:gd name="connsiteY8" fmla="*/ 1003935 h 1248251"/>
                <a:gd name="connsiteX9" fmla="*/ 948595 w 948594"/>
                <a:gd name="connsiteY9" fmla="*/ 1003935 h 1248251"/>
                <a:gd name="connsiteX10" fmla="*/ 948595 w 948594"/>
                <a:gd name="connsiteY10" fmla="*/ 1248251 h 1248251"/>
                <a:gd name="connsiteX11" fmla="*/ 0 w 948594"/>
                <a:gd name="connsiteY11" fmla="*/ 1248251 h 1248251"/>
                <a:gd name="connsiteX12" fmla="*/ 0 w 948594"/>
                <a:gd name="connsiteY12" fmla="*/ 0 h 124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594" h="1248251">
                  <a:moveTo>
                    <a:pt x="95" y="0"/>
                  </a:moveTo>
                  <a:lnTo>
                    <a:pt x="939737" y="0"/>
                  </a:lnTo>
                  <a:lnTo>
                    <a:pt x="939737" y="244316"/>
                  </a:lnTo>
                  <a:lnTo>
                    <a:pt x="271081" y="244316"/>
                  </a:lnTo>
                  <a:lnTo>
                    <a:pt x="271081" y="497491"/>
                  </a:lnTo>
                  <a:lnTo>
                    <a:pt x="859441" y="497491"/>
                  </a:lnTo>
                  <a:lnTo>
                    <a:pt x="859441" y="741807"/>
                  </a:lnTo>
                  <a:lnTo>
                    <a:pt x="271081" y="741807"/>
                  </a:lnTo>
                  <a:lnTo>
                    <a:pt x="271081" y="1003935"/>
                  </a:lnTo>
                  <a:lnTo>
                    <a:pt x="948595" y="1003935"/>
                  </a:lnTo>
                  <a:lnTo>
                    <a:pt x="948595" y="1248251"/>
                  </a:lnTo>
                  <a:lnTo>
                    <a:pt x="0" y="12482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8" name="Freeform: Shape 20">
              <a:extLst>
                <a:ext uri="{FF2B5EF4-FFF2-40B4-BE49-F238E27FC236}">
                  <a16:creationId xmlns:a16="http://schemas.microsoft.com/office/drawing/2014/main" id="{EF6849EA-5EEC-5496-EA35-717E8B709756}"/>
                </a:ext>
              </a:extLst>
            </p:cNvPr>
            <p:cNvSpPr/>
            <p:nvPr/>
          </p:nvSpPr>
          <p:spPr>
            <a:xfrm>
              <a:off x="5253193" y="699983"/>
              <a:ext cx="90796" cy="97883"/>
            </a:xfrm>
            <a:custGeom>
              <a:avLst/>
              <a:gdLst>
                <a:gd name="connsiteX0" fmla="*/ 191548 w 361187"/>
                <a:gd name="connsiteY0" fmla="*/ 389382 h 389381"/>
                <a:gd name="connsiteX1" fmla="*/ 116300 w 361187"/>
                <a:gd name="connsiteY1" fmla="*/ 375285 h 389381"/>
                <a:gd name="connsiteX2" fmla="*/ 55531 w 361187"/>
                <a:gd name="connsiteY2" fmla="*/ 335756 h 389381"/>
                <a:gd name="connsiteX3" fmla="*/ 14859 w 361187"/>
                <a:gd name="connsiteY3" fmla="*/ 274606 h 389381"/>
                <a:gd name="connsiteX4" fmla="*/ 0 w 361187"/>
                <a:gd name="connsiteY4" fmla="*/ 195834 h 389381"/>
                <a:gd name="connsiteX5" fmla="*/ 0 w 361187"/>
                <a:gd name="connsiteY5" fmla="*/ 194405 h 389381"/>
                <a:gd name="connsiteX6" fmla="*/ 13430 w 361187"/>
                <a:gd name="connsiteY6" fmla="*/ 118777 h 389381"/>
                <a:gd name="connsiteX7" fmla="*/ 51245 w 361187"/>
                <a:gd name="connsiteY7" fmla="*/ 56959 h 389381"/>
                <a:gd name="connsiteX8" fmla="*/ 108871 w 361187"/>
                <a:gd name="connsiteY8" fmla="*/ 15240 h 389381"/>
                <a:gd name="connsiteX9" fmla="*/ 182404 w 361187"/>
                <a:gd name="connsiteY9" fmla="*/ 0 h 389381"/>
                <a:gd name="connsiteX10" fmla="*/ 260509 w 361187"/>
                <a:gd name="connsiteY10" fmla="*/ 16288 h 389381"/>
                <a:gd name="connsiteX11" fmla="*/ 316325 w 361187"/>
                <a:gd name="connsiteY11" fmla="*/ 60103 h 389381"/>
                <a:gd name="connsiteX12" fmla="*/ 349853 w 361187"/>
                <a:gd name="connsiteY12" fmla="*/ 124015 h 389381"/>
                <a:gd name="connsiteX13" fmla="*/ 361188 w 361187"/>
                <a:gd name="connsiteY13" fmla="*/ 200692 h 389381"/>
                <a:gd name="connsiteX14" fmla="*/ 360807 w 361187"/>
                <a:gd name="connsiteY14" fmla="*/ 212312 h 389381"/>
                <a:gd name="connsiteX15" fmla="*/ 359759 w 361187"/>
                <a:gd name="connsiteY15" fmla="*/ 224695 h 389381"/>
                <a:gd name="connsiteX16" fmla="*/ 85534 w 361187"/>
                <a:gd name="connsiteY16" fmla="*/ 224695 h 389381"/>
                <a:gd name="connsiteX17" fmla="*/ 121920 w 361187"/>
                <a:gd name="connsiteY17" fmla="*/ 294989 h 389381"/>
                <a:gd name="connsiteX18" fmla="*/ 192977 w 361187"/>
                <a:gd name="connsiteY18" fmla="*/ 319373 h 389381"/>
                <a:gd name="connsiteX19" fmla="*/ 248126 w 361187"/>
                <a:gd name="connsiteY19" fmla="*/ 308038 h 389381"/>
                <a:gd name="connsiteX20" fmla="*/ 294037 w 361187"/>
                <a:gd name="connsiteY20" fmla="*/ 274796 h 389381"/>
                <a:gd name="connsiteX21" fmla="*/ 344234 w 361187"/>
                <a:gd name="connsiteY21" fmla="*/ 319278 h 389381"/>
                <a:gd name="connsiteX22" fmla="*/ 280226 w 361187"/>
                <a:gd name="connsiteY22" fmla="*/ 370141 h 389381"/>
                <a:gd name="connsiteX23" fmla="*/ 191548 w 361187"/>
                <a:gd name="connsiteY23" fmla="*/ 389191 h 389381"/>
                <a:gd name="connsiteX24" fmla="*/ 276320 w 361187"/>
                <a:gd name="connsiteY24" fmla="*/ 168211 h 389381"/>
                <a:gd name="connsiteX25" fmla="*/ 267176 w 361187"/>
                <a:gd name="connsiteY25" fmla="*/ 129730 h 389381"/>
                <a:gd name="connsiteX26" fmla="*/ 248126 w 361187"/>
                <a:gd name="connsiteY26" fmla="*/ 98679 h 389381"/>
                <a:gd name="connsiteX27" fmla="*/ 219551 w 361187"/>
                <a:gd name="connsiteY27" fmla="*/ 77819 h 389381"/>
                <a:gd name="connsiteX28" fmla="*/ 181737 w 361187"/>
                <a:gd name="connsiteY28" fmla="*/ 70009 h 389381"/>
                <a:gd name="connsiteX29" fmla="*/ 116396 w 361187"/>
                <a:gd name="connsiteY29" fmla="*/ 97250 h 389381"/>
                <a:gd name="connsiteX30" fmla="*/ 84963 w 361187"/>
                <a:gd name="connsiteY30" fmla="*/ 168307 h 389381"/>
                <a:gd name="connsiteX31" fmla="*/ 276511 w 361187"/>
                <a:gd name="connsiteY31" fmla="*/ 168307 h 389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1187" h="389381">
                  <a:moveTo>
                    <a:pt x="191548" y="389382"/>
                  </a:moveTo>
                  <a:cubicBezTo>
                    <a:pt x="164687" y="389382"/>
                    <a:pt x="139637" y="384715"/>
                    <a:pt x="116300" y="375285"/>
                  </a:cubicBezTo>
                  <a:cubicBezTo>
                    <a:pt x="92964" y="365855"/>
                    <a:pt x="72771" y="352711"/>
                    <a:pt x="55531" y="335756"/>
                  </a:cubicBezTo>
                  <a:cubicBezTo>
                    <a:pt x="38291" y="318802"/>
                    <a:pt x="24765" y="298418"/>
                    <a:pt x="14859" y="274606"/>
                  </a:cubicBezTo>
                  <a:cubicBezTo>
                    <a:pt x="4953" y="250793"/>
                    <a:pt x="0" y="224599"/>
                    <a:pt x="0" y="195834"/>
                  </a:cubicBezTo>
                  <a:lnTo>
                    <a:pt x="0" y="194405"/>
                  </a:lnTo>
                  <a:cubicBezTo>
                    <a:pt x="0" y="167545"/>
                    <a:pt x="4477" y="142399"/>
                    <a:pt x="13430" y="118777"/>
                  </a:cubicBezTo>
                  <a:cubicBezTo>
                    <a:pt x="22384" y="95250"/>
                    <a:pt x="34957" y="74581"/>
                    <a:pt x="51245" y="56959"/>
                  </a:cubicBezTo>
                  <a:cubicBezTo>
                    <a:pt x="67532" y="39338"/>
                    <a:pt x="86677" y="25432"/>
                    <a:pt x="108871" y="15240"/>
                  </a:cubicBezTo>
                  <a:cubicBezTo>
                    <a:pt x="131064" y="5143"/>
                    <a:pt x="155543" y="0"/>
                    <a:pt x="182404" y="0"/>
                  </a:cubicBezTo>
                  <a:cubicBezTo>
                    <a:pt x="212122" y="0"/>
                    <a:pt x="238125" y="5429"/>
                    <a:pt x="260509" y="16288"/>
                  </a:cubicBezTo>
                  <a:cubicBezTo>
                    <a:pt x="282893" y="27146"/>
                    <a:pt x="301466" y="41719"/>
                    <a:pt x="316325" y="60103"/>
                  </a:cubicBezTo>
                  <a:cubicBezTo>
                    <a:pt x="331184" y="78486"/>
                    <a:pt x="342329" y="99822"/>
                    <a:pt x="349853" y="124015"/>
                  </a:cubicBezTo>
                  <a:cubicBezTo>
                    <a:pt x="357378" y="148304"/>
                    <a:pt x="361188" y="173831"/>
                    <a:pt x="361188" y="200692"/>
                  </a:cubicBezTo>
                  <a:cubicBezTo>
                    <a:pt x="361188" y="204502"/>
                    <a:pt x="361093" y="208312"/>
                    <a:pt x="360807" y="212312"/>
                  </a:cubicBezTo>
                  <a:cubicBezTo>
                    <a:pt x="360521" y="216313"/>
                    <a:pt x="360236" y="220409"/>
                    <a:pt x="359759" y="224695"/>
                  </a:cubicBezTo>
                  <a:lnTo>
                    <a:pt x="85534" y="224695"/>
                  </a:lnTo>
                  <a:cubicBezTo>
                    <a:pt x="90202" y="255365"/>
                    <a:pt x="102394" y="278797"/>
                    <a:pt x="121920" y="294989"/>
                  </a:cubicBezTo>
                  <a:cubicBezTo>
                    <a:pt x="141446" y="311277"/>
                    <a:pt x="165164" y="319373"/>
                    <a:pt x="192977" y="319373"/>
                  </a:cubicBezTo>
                  <a:cubicBezTo>
                    <a:pt x="214217" y="319373"/>
                    <a:pt x="232505" y="315563"/>
                    <a:pt x="248126" y="308038"/>
                  </a:cubicBezTo>
                  <a:cubicBezTo>
                    <a:pt x="263652" y="300514"/>
                    <a:pt x="278987" y="289465"/>
                    <a:pt x="294037" y="274796"/>
                  </a:cubicBezTo>
                  <a:lnTo>
                    <a:pt x="344234" y="319278"/>
                  </a:lnTo>
                  <a:cubicBezTo>
                    <a:pt x="326327" y="340519"/>
                    <a:pt x="304991" y="357473"/>
                    <a:pt x="280226" y="370141"/>
                  </a:cubicBezTo>
                  <a:cubicBezTo>
                    <a:pt x="255461" y="382810"/>
                    <a:pt x="225933" y="389191"/>
                    <a:pt x="191548" y="389191"/>
                  </a:cubicBezTo>
                  <a:close/>
                  <a:moveTo>
                    <a:pt x="276320" y="168211"/>
                  </a:moveTo>
                  <a:cubicBezTo>
                    <a:pt x="274892" y="154591"/>
                    <a:pt x="271844" y="141732"/>
                    <a:pt x="267176" y="129730"/>
                  </a:cubicBezTo>
                  <a:cubicBezTo>
                    <a:pt x="262414" y="117729"/>
                    <a:pt x="256127" y="107347"/>
                    <a:pt x="248126" y="98679"/>
                  </a:cubicBezTo>
                  <a:cubicBezTo>
                    <a:pt x="240125" y="89916"/>
                    <a:pt x="230600" y="82963"/>
                    <a:pt x="219551" y="77819"/>
                  </a:cubicBezTo>
                  <a:cubicBezTo>
                    <a:pt x="208502" y="72676"/>
                    <a:pt x="195834" y="70009"/>
                    <a:pt x="181737" y="70009"/>
                  </a:cubicBezTo>
                  <a:cubicBezTo>
                    <a:pt x="155353" y="70009"/>
                    <a:pt x="133541" y="79057"/>
                    <a:pt x="116396" y="97250"/>
                  </a:cubicBezTo>
                  <a:cubicBezTo>
                    <a:pt x="99155" y="115348"/>
                    <a:pt x="88678" y="139065"/>
                    <a:pt x="84963" y="168307"/>
                  </a:cubicBezTo>
                  <a:lnTo>
                    <a:pt x="276511" y="16830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9" name="Freeform: Shape 21">
              <a:extLst>
                <a:ext uri="{FF2B5EF4-FFF2-40B4-BE49-F238E27FC236}">
                  <a16:creationId xmlns:a16="http://schemas.microsoft.com/office/drawing/2014/main" id="{30C32A16-793F-38A5-97EC-06453AD072BB}"/>
                </a:ext>
              </a:extLst>
            </p:cNvPr>
            <p:cNvSpPr/>
            <p:nvPr/>
          </p:nvSpPr>
          <p:spPr>
            <a:xfrm>
              <a:off x="5365659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5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8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3 w 568166"/>
                <a:gd name="connsiteY21" fmla="*/ 381000 h 381000"/>
                <a:gd name="connsiteX22" fmla="*/ 240983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4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70" y="48196"/>
                    <a:pt x="105918" y="40576"/>
                  </a:cubicBezTo>
                  <a:cubicBezTo>
                    <a:pt x="112967" y="32956"/>
                    <a:pt x="121063" y="26099"/>
                    <a:pt x="130207" y="19907"/>
                  </a:cubicBezTo>
                  <a:cubicBezTo>
                    <a:pt x="139351" y="13716"/>
                    <a:pt x="149733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4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1" y="30289"/>
                    <a:pt x="363665" y="18193"/>
                  </a:cubicBezTo>
                  <a:cubicBezTo>
                    <a:pt x="384239" y="6096"/>
                    <a:pt x="408718" y="0"/>
                    <a:pt x="437007" y="0"/>
                  </a:cubicBezTo>
                  <a:cubicBezTo>
                    <a:pt x="478060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8" y="78486"/>
                  </a:cubicBezTo>
                  <a:cubicBezTo>
                    <a:pt x="382810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3" y="381000"/>
                  </a:lnTo>
                  <a:lnTo>
                    <a:pt x="240983" y="168783"/>
                  </a:lnTo>
                  <a:cubicBezTo>
                    <a:pt x="240983" y="139637"/>
                    <a:pt x="234410" y="117348"/>
                    <a:pt x="221266" y="101822"/>
                  </a:cubicBezTo>
                  <a:cubicBezTo>
                    <a:pt x="208121" y="86296"/>
                    <a:pt x="189643" y="78581"/>
                    <a:pt x="165640" y="78581"/>
                  </a:cubicBezTo>
                  <a:cubicBezTo>
                    <a:pt x="141637" y="78581"/>
                    <a:pt x="122492" y="86773"/>
                    <a:pt x="108014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0" name="Freeform: Shape 22">
              <a:extLst>
                <a:ext uri="{FF2B5EF4-FFF2-40B4-BE49-F238E27FC236}">
                  <a16:creationId xmlns:a16="http://schemas.microsoft.com/office/drawing/2014/main" id="{092C1873-FA17-097E-131C-B6B2BF566976}"/>
                </a:ext>
              </a:extLst>
            </p:cNvPr>
            <p:cNvSpPr/>
            <p:nvPr/>
          </p:nvSpPr>
          <p:spPr>
            <a:xfrm>
              <a:off x="5587693" y="700007"/>
              <a:ext cx="84211" cy="95752"/>
            </a:xfrm>
            <a:custGeom>
              <a:avLst/>
              <a:gdLst>
                <a:gd name="connsiteX0" fmla="*/ 95 w 334994"/>
                <a:gd name="connsiteY0" fmla="*/ 7715 h 380904"/>
                <a:gd name="connsiteX1" fmla="*/ 86296 w 334994"/>
                <a:gd name="connsiteY1" fmla="*/ 7715 h 380904"/>
                <a:gd name="connsiteX2" fmla="*/ 86296 w 334994"/>
                <a:gd name="connsiteY2" fmla="*/ 66294 h 380904"/>
                <a:gd name="connsiteX3" fmla="*/ 106394 w 334994"/>
                <a:gd name="connsiteY3" fmla="*/ 40958 h 380904"/>
                <a:gd name="connsiteX4" fmla="*/ 131731 w 334994"/>
                <a:gd name="connsiteY4" fmla="*/ 19907 h 380904"/>
                <a:gd name="connsiteX5" fmla="*/ 163449 w 334994"/>
                <a:gd name="connsiteY5" fmla="*/ 5334 h 380904"/>
                <a:gd name="connsiteX6" fmla="*/ 202597 w 334994"/>
                <a:gd name="connsiteY6" fmla="*/ 0 h 380904"/>
                <a:gd name="connsiteX7" fmla="*/ 300514 w 334994"/>
                <a:gd name="connsiteY7" fmla="*/ 38862 h 380904"/>
                <a:gd name="connsiteX8" fmla="*/ 334994 w 334994"/>
                <a:gd name="connsiteY8" fmla="*/ 143446 h 380904"/>
                <a:gd name="connsiteX9" fmla="*/ 334994 w 334994"/>
                <a:gd name="connsiteY9" fmla="*/ 380905 h 380904"/>
                <a:gd name="connsiteX10" fmla="*/ 248793 w 334994"/>
                <a:gd name="connsiteY10" fmla="*/ 380905 h 380904"/>
                <a:gd name="connsiteX11" fmla="*/ 248793 w 334994"/>
                <a:gd name="connsiteY11" fmla="*/ 169450 h 380904"/>
                <a:gd name="connsiteX12" fmla="*/ 228124 w 334994"/>
                <a:gd name="connsiteY12" fmla="*/ 102108 h 380904"/>
                <a:gd name="connsiteX13" fmla="*/ 169640 w 334994"/>
                <a:gd name="connsiteY13" fmla="*/ 78486 h 380904"/>
                <a:gd name="connsiteX14" fmla="*/ 109347 w 334994"/>
                <a:gd name="connsiteY14" fmla="*/ 102775 h 380904"/>
                <a:gd name="connsiteX15" fmla="*/ 86201 w 334994"/>
                <a:gd name="connsiteY15" fmla="*/ 170783 h 380904"/>
                <a:gd name="connsiteX16" fmla="*/ 86201 w 334994"/>
                <a:gd name="connsiteY16" fmla="*/ 380905 h 380904"/>
                <a:gd name="connsiteX17" fmla="*/ 0 w 334994"/>
                <a:gd name="connsiteY17" fmla="*/ 380905 h 380904"/>
                <a:gd name="connsiteX18" fmla="*/ 0 w 334994"/>
                <a:gd name="connsiteY18" fmla="*/ 7810 h 38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994" h="380904">
                  <a:moveTo>
                    <a:pt x="95" y="7715"/>
                  </a:moveTo>
                  <a:lnTo>
                    <a:pt x="86296" y="7715"/>
                  </a:lnTo>
                  <a:lnTo>
                    <a:pt x="86296" y="66294"/>
                  </a:lnTo>
                  <a:cubicBezTo>
                    <a:pt x="92392" y="57245"/>
                    <a:pt x="99060" y="48863"/>
                    <a:pt x="106394" y="40958"/>
                  </a:cubicBezTo>
                  <a:cubicBezTo>
                    <a:pt x="113633" y="33147"/>
                    <a:pt x="122110" y="26099"/>
                    <a:pt x="131731" y="19907"/>
                  </a:cubicBezTo>
                  <a:cubicBezTo>
                    <a:pt x="141351" y="13716"/>
                    <a:pt x="151924" y="8858"/>
                    <a:pt x="163449" y="5334"/>
                  </a:cubicBezTo>
                  <a:cubicBezTo>
                    <a:pt x="174974" y="1714"/>
                    <a:pt x="188024" y="0"/>
                    <a:pt x="202597" y="0"/>
                  </a:cubicBezTo>
                  <a:cubicBezTo>
                    <a:pt x="244888" y="0"/>
                    <a:pt x="277559" y="12954"/>
                    <a:pt x="300514" y="38862"/>
                  </a:cubicBezTo>
                  <a:cubicBezTo>
                    <a:pt x="323564" y="64770"/>
                    <a:pt x="334994" y="99631"/>
                    <a:pt x="334994" y="143446"/>
                  </a:cubicBezTo>
                  <a:lnTo>
                    <a:pt x="334994" y="380905"/>
                  </a:lnTo>
                  <a:lnTo>
                    <a:pt x="248793" y="380905"/>
                  </a:lnTo>
                  <a:lnTo>
                    <a:pt x="248793" y="169450"/>
                  </a:lnTo>
                  <a:cubicBezTo>
                    <a:pt x="248793" y="140303"/>
                    <a:pt x="241935" y="117824"/>
                    <a:pt x="228124" y="102108"/>
                  </a:cubicBezTo>
                  <a:cubicBezTo>
                    <a:pt x="214313" y="86392"/>
                    <a:pt x="194881" y="78486"/>
                    <a:pt x="169640" y="78486"/>
                  </a:cubicBezTo>
                  <a:cubicBezTo>
                    <a:pt x="144399" y="78486"/>
                    <a:pt x="124777" y="86582"/>
                    <a:pt x="109347" y="102775"/>
                  </a:cubicBezTo>
                  <a:cubicBezTo>
                    <a:pt x="93917" y="118967"/>
                    <a:pt x="86201" y="141637"/>
                    <a:pt x="86201" y="170783"/>
                  </a:cubicBezTo>
                  <a:lnTo>
                    <a:pt x="86201" y="380905"/>
                  </a:lnTo>
                  <a:lnTo>
                    <a:pt x="0" y="380905"/>
                  </a:lnTo>
                  <a:lnTo>
                    <a:pt x="0" y="781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1" name="Freeform: Shape 23">
              <a:extLst>
                <a:ext uri="{FF2B5EF4-FFF2-40B4-BE49-F238E27FC236}">
                  <a16:creationId xmlns:a16="http://schemas.microsoft.com/office/drawing/2014/main" id="{786EFF6C-CD83-57E6-EAD1-1E6C2ABD404B}"/>
                </a:ext>
              </a:extLst>
            </p:cNvPr>
            <p:cNvSpPr/>
            <p:nvPr/>
          </p:nvSpPr>
          <p:spPr>
            <a:xfrm>
              <a:off x="5692712" y="699959"/>
              <a:ext cx="100015" cy="97908"/>
            </a:xfrm>
            <a:custGeom>
              <a:avLst/>
              <a:gdLst>
                <a:gd name="connsiteX0" fmla="*/ 197834 w 397859"/>
                <a:gd name="connsiteY0" fmla="*/ 389477 h 389477"/>
                <a:gd name="connsiteX1" fmla="*/ 119063 w 397859"/>
                <a:gd name="connsiteY1" fmla="*/ 374237 h 389477"/>
                <a:gd name="connsiteX2" fmla="*/ 56197 w 397859"/>
                <a:gd name="connsiteY2" fmla="*/ 332899 h 389477"/>
                <a:gd name="connsiteX3" fmla="*/ 14859 w 397859"/>
                <a:gd name="connsiteY3" fmla="*/ 271463 h 389477"/>
                <a:gd name="connsiteX4" fmla="*/ 0 w 397859"/>
                <a:gd name="connsiteY4" fmla="*/ 196501 h 389477"/>
                <a:gd name="connsiteX5" fmla="*/ 0 w 397859"/>
                <a:gd name="connsiteY5" fmla="*/ 195072 h 389477"/>
                <a:gd name="connsiteX6" fmla="*/ 15145 w 397859"/>
                <a:gd name="connsiteY6" fmla="*/ 119444 h 389477"/>
                <a:gd name="connsiteX7" fmla="*/ 56864 w 397859"/>
                <a:gd name="connsiteY7" fmla="*/ 57626 h 389477"/>
                <a:gd name="connsiteX8" fmla="*/ 119729 w 397859"/>
                <a:gd name="connsiteY8" fmla="*/ 15526 h 389477"/>
                <a:gd name="connsiteX9" fmla="*/ 199263 w 397859"/>
                <a:gd name="connsiteY9" fmla="*/ 0 h 389477"/>
                <a:gd name="connsiteX10" fmla="*/ 278797 w 397859"/>
                <a:gd name="connsiteY10" fmla="*/ 15240 h 389477"/>
                <a:gd name="connsiteX11" fmla="*/ 341662 w 397859"/>
                <a:gd name="connsiteY11" fmla="*/ 56959 h 389477"/>
                <a:gd name="connsiteX12" fmla="*/ 383000 w 397859"/>
                <a:gd name="connsiteY12" fmla="*/ 118396 h 389477"/>
                <a:gd name="connsiteX13" fmla="*/ 397859 w 397859"/>
                <a:gd name="connsiteY13" fmla="*/ 193643 h 389477"/>
                <a:gd name="connsiteX14" fmla="*/ 397859 w 397859"/>
                <a:gd name="connsiteY14" fmla="*/ 195072 h 389477"/>
                <a:gd name="connsiteX15" fmla="*/ 382619 w 397859"/>
                <a:gd name="connsiteY15" fmla="*/ 270034 h 389477"/>
                <a:gd name="connsiteX16" fmla="*/ 340900 w 397859"/>
                <a:gd name="connsiteY16" fmla="*/ 331851 h 389477"/>
                <a:gd name="connsiteX17" fmla="*/ 277654 w 397859"/>
                <a:gd name="connsiteY17" fmla="*/ 373856 h 389477"/>
                <a:gd name="connsiteX18" fmla="*/ 197834 w 397859"/>
                <a:gd name="connsiteY18" fmla="*/ 389382 h 389477"/>
                <a:gd name="connsiteX19" fmla="*/ 199263 w 397859"/>
                <a:gd name="connsiteY19" fmla="*/ 315278 h 389477"/>
                <a:gd name="connsiteX20" fmla="*/ 245935 w 397859"/>
                <a:gd name="connsiteY20" fmla="*/ 305753 h 389477"/>
                <a:gd name="connsiteX21" fmla="*/ 281368 w 397859"/>
                <a:gd name="connsiteY21" fmla="*/ 279940 h 389477"/>
                <a:gd name="connsiteX22" fmla="*/ 303847 w 397859"/>
                <a:gd name="connsiteY22" fmla="*/ 242125 h 389477"/>
                <a:gd name="connsiteX23" fmla="*/ 311563 w 397859"/>
                <a:gd name="connsiteY23" fmla="*/ 196501 h 389477"/>
                <a:gd name="connsiteX24" fmla="*/ 311563 w 397859"/>
                <a:gd name="connsiteY24" fmla="*/ 195072 h 389477"/>
                <a:gd name="connsiteX25" fmla="*/ 303181 w 397859"/>
                <a:gd name="connsiteY25" fmla="*/ 148400 h 389477"/>
                <a:gd name="connsiteX26" fmla="*/ 279654 w 397859"/>
                <a:gd name="connsiteY26" fmla="*/ 110204 h 389477"/>
                <a:gd name="connsiteX27" fmla="*/ 243840 w 397859"/>
                <a:gd name="connsiteY27" fmla="*/ 84392 h 389477"/>
                <a:gd name="connsiteX28" fmla="*/ 197834 w 397859"/>
                <a:gd name="connsiteY28" fmla="*/ 74867 h 389477"/>
                <a:gd name="connsiteX29" fmla="*/ 151829 w 397859"/>
                <a:gd name="connsiteY29" fmla="*/ 84392 h 389477"/>
                <a:gd name="connsiteX30" fmla="*/ 116396 w 397859"/>
                <a:gd name="connsiteY30" fmla="*/ 109823 h 389477"/>
                <a:gd name="connsiteX31" fmla="*/ 93917 w 397859"/>
                <a:gd name="connsiteY31" fmla="*/ 147638 h 389477"/>
                <a:gd name="connsiteX32" fmla="*/ 86201 w 397859"/>
                <a:gd name="connsiteY32" fmla="*/ 193548 h 389477"/>
                <a:gd name="connsiteX33" fmla="*/ 86201 w 397859"/>
                <a:gd name="connsiteY33" fmla="*/ 194977 h 389477"/>
                <a:gd name="connsiteX34" fmla="*/ 94583 w 397859"/>
                <a:gd name="connsiteY34" fmla="*/ 241268 h 389477"/>
                <a:gd name="connsiteX35" fmla="*/ 118110 w 397859"/>
                <a:gd name="connsiteY35" fmla="*/ 279463 h 389477"/>
                <a:gd name="connsiteX36" fmla="*/ 153924 w 397859"/>
                <a:gd name="connsiteY36" fmla="*/ 305562 h 389477"/>
                <a:gd name="connsiteX37" fmla="*/ 199263 w 397859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859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7" y="332899"/>
                  </a:cubicBezTo>
                  <a:cubicBezTo>
                    <a:pt x="38481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8" y="143066"/>
                    <a:pt x="15145" y="119444"/>
                  </a:cubicBezTo>
                  <a:cubicBezTo>
                    <a:pt x="25241" y="95917"/>
                    <a:pt x="39148" y="75248"/>
                    <a:pt x="56864" y="57626"/>
                  </a:cubicBezTo>
                  <a:cubicBezTo>
                    <a:pt x="74581" y="39910"/>
                    <a:pt x="95536" y="25908"/>
                    <a:pt x="119729" y="15526"/>
                  </a:cubicBezTo>
                  <a:cubicBezTo>
                    <a:pt x="144018" y="5144"/>
                    <a:pt x="170497" y="0"/>
                    <a:pt x="199263" y="0"/>
                  </a:cubicBezTo>
                  <a:cubicBezTo>
                    <a:pt x="228029" y="0"/>
                    <a:pt x="254508" y="5048"/>
                    <a:pt x="278797" y="15240"/>
                  </a:cubicBezTo>
                  <a:cubicBezTo>
                    <a:pt x="303085" y="25337"/>
                    <a:pt x="324041" y="39243"/>
                    <a:pt x="341662" y="56959"/>
                  </a:cubicBezTo>
                  <a:cubicBezTo>
                    <a:pt x="359378" y="74676"/>
                    <a:pt x="373094" y="95155"/>
                    <a:pt x="383000" y="118396"/>
                  </a:cubicBezTo>
                  <a:cubicBezTo>
                    <a:pt x="392906" y="141732"/>
                    <a:pt x="397859" y="166783"/>
                    <a:pt x="397859" y="193643"/>
                  </a:cubicBezTo>
                  <a:lnTo>
                    <a:pt x="397859" y="195072"/>
                  </a:lnTo>
                  <a:cubicBezTo>
                    <a:pt x="397859" y="221456"/>
                    <a:pt x="392811" y="246412"/>
                    <a:pt x="382619" y="270034"/>
                  </a:cubicBezTo>
                  <a:cubicBezTo>
                    <a:pt x="372523" y="293561"/>
                    <a:pt x="358616" y="314230"/>
                    <a:pt x="340900" y="331851"/>
                  </a:cubicBezTo>
                  <a:cubicBezTo>
                    <a:pt x="323183" y="349472"/>
                    <a:pt x="302133" y="363569"/>
                    <a:pt x="277654" y="373856"/>
                  </a:cubicBezTo>
                  <a:cubicBezTo>
                    <a:pt x="253175" y="384238"/>
                    <a:pt x="226504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5" y="305753"/>
                  </a:cubicBezTo>
                  <a:cubicBezTo>
                    <a:pt x="259747" y="299371"/>
                    <a:pt x="271558" y="290798"/>
                    <a:pt x="281368" y="279940"/>
                  </a:cubicBezTo>
                  <a:cubicBezTo>
                    <a:pt x="291179" y="269081"/>
                    <a:pt x="298704" y="256508"/>
                    <a:pt x="303847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800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8" y="99346"/>
                    <a:pt x="257651" y="90773"/>
                    <a:pt x="243840" y="84392"/>
                  </a:cubicBezTo>
                  <a:cubicBezTo>
                    <a:pt x="230029" y="78010"/>
                    <a:pt x="214693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7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8963" y="226886"/>
                    <a:pt x="94583" y="241268"/>
                  </a:cubicBezTo>
                  <a:cubicBezTo>
                    <a:pt x="100203" y="255651"/>
                    <a:pt x="108013" y="268319"/>
                    <a:pt x="118110" y="279463"/>
                  </a:cubicBezTo>
                  <a:cubicBezTo>
                    <a:pt x="128206" y="290513"/>
                    <a:pt x="140113" y="299275"/>
                    <a:pt x="153924" y="305562"/>
                  </a:cubicBezTo>
                  <a:cubicBezTo>
                    <a:pt x="167735" y="311944"/>
                    <a:pt x="182880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id="{8927887C-12EA-48E9-F669-30A545E1D248}"/>
                </a:ext>
              </a:extLst>
            </p:cNvPr>
            <p:cNvSpPr/>
            <p:nvPr/>
          </p:nvSpPr>
          <p:spPr>
            <a:xfrm>
              <a:off x="5806925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2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2 w 296894"/>
                <a:gd name="connsiteY39" fmla="*/ 320897 h 386714"/>
                <a:gd name="connsiteX40" fmla="*/ 256984 w 296894"/>
                <a:gd name="connsiteY40" fmla="*/ 357188 h 386714"/>
                <a:gd name="connsiteX41" fmla="*/ 212789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8" y="298704"/>
                    <a:pt x="100013" y="306514"/>
                  </a:cubicBezTo>
                  <a:cubicBezTo>
                    <a:pt x="120967" y="314325"/>
                    <a:pt x="141161" y="318135"/>
                    <a:pt x="160401" y="318135"/>
                  </a:cubicBezTo>
                  <a:cubicBezTo>
                    <a:pt x="179642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3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9" y="182594"/>
                    <a:pt x="36100" y="172307"/>
                    <a:pt x="28956" y="160115"/>
                  </a:cubicBezTo>
                  <a:cubicBezTo>
                    <a:pt x="21908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5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7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9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2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2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9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3" name="Freeform: Shape 25">
              <a:extLst>
                <a:ext uri="{FF2B5EF4-FFF2-40B4-BE49-F238E27FC236}">
                  <a16:creationId xmlns:a16="http://schemas.microsoft.com/office/drawing/2014/main" id="{C6868085-BC0C-F871-178E-856B218E9769}"/>
                </a:ext>
              </a:extLst>
            </p:cNvPr>
            <p:cNvSpPr/>
            <p:nvPr/>
          </p:nvSpPr>
          <p:spPr>
            <a:xfrm>
              <a:off x="589573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6 w 296894"/>
                <a:gd name="connsiteY9" fmla="*/ 258223 h 386714"/>
                <a:gd name="connsiteX10" fmla="*/ 193262 w 296894"/>
                <a:gd name="connsiteY10" fmla="*/ 244792 h 386714"/>
                <a:gd name="connsiteX11" fmla="*/ 166402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6 w 296894"/>
                <a:gd name="connsiteY23" fmla="*/ 42863 h 386714"/>
                <a:gd name="connsiteX24" fmla="*/ 254317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8 w 296894"/>
                <a:gd name="connsiteY30" fmla="*/ 124587 h 386714"/>
                <a:gd name="connsiteX31" fmla="*/ 122682 w 296894"/>
                <a:gd name="connsiteY31" fmla="*/ 138017 h 386714"/>
                <a:gd name="connsiteX32" fmla="*/ 149542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160" y="318135"/>
                    <a:pt x="160401" y="318135"/>
                  </a:cubicBezTo>
                  <a:cubicBezTo>
                    <a:pt x="179641" y="318135"/>
                    <a:pt x="192976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6" y="42863"/>
                  </a:cubicBezTo>
                  <a:lnTo>
                    <a:pt x="254317" y="103918"/>
                  </a:lnTo>
                  <a:cubicBezTo>
                    <a:pt x="236410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8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2" y="142018"/>
                    <a:pt x="139351" y="145732"/>
                    <a:pt x="149542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792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4" name="Freeform: Shape 26">
              <a:extLst>
                <a:ext uri="{FF2B5EF4-FFF2-40B4-BE49-F238E27FC236}">
                  <a16:creationId xmlns:a16="http://schemas.microsoft.com/office/drawing/2014/main" id="{C7A03EED-0F34-66C9-4385-0F859CB0E326}"/>
                </a:ext>
              </a:extLst>
            </p:cNvPr>
            <p:cNvSpPr/>
            <p:nvPr/>
          </p:nvSpPr>
          <p:spPr>
            <a:xfrm>
              <a:off x="5985812" y="700558"/>
              <a:ext cx="85097" cy="97141"/>
            </a:xfrm>
            <a:custGeom>
              <a:avLst/>
              <a:gdLst>
                <a:gd name="connsiteX0" fmla="*/ 253651 w 338518"/>
                <a:gd name="connsiteY0" fmla="*/ 378619 h 386429"/>
                <a:gd name="connsiteX1" fmla="*/ 253651 w 338518"/>
                <a:gd name="connsiteY1" fmla="*/ 332708 h 386429"/>
                <a:gd name="connsiteX2" fmla="*/ 204883 w 338518"/>
                <a:gd name="connsiteY2" fmla="*/ 370904 h 386429"/>
                <a:gd name="connsiteX3" fmla="*/ 132779 w 338518"/>
                <a:gd name="connsiteY3" fmla="*/ 386429 h 386429"/>
                <a:gd name="connsiteX4" fmla="*/ 81915 w 338518"/>
                <a:gd name="connsiteY4" fmla="*/ 379000 h 386429"/>
                <a:gd name="connsiteX5" fmla="*/ 39910 w 338518"/>
                <a:gd name="connsiteY5" fmla="*/ 357092 h 386429"/>
                <a:gd name="connsiteX6" fmla="*/ 10954 w 338518"/>
                <a:gd name="connsiteY6" fmla="*/ 321088 h 386429"/>
                <a:gd name="connsiteX7" fmla="*/ 0 w 338518"/>
                <a:gd name="connsiteY7" fmla="*/ 271272 h 386429"/>
                <a:gd name="connsiteX8" fmla="*/ 0 w 338518"/>
                <a:gd name="connsiteY8" fmla="*/ 269843 h 386429"/>
                <a:gd name="connsiteX9" fmla="*/ 11335 w 338518"/>
                <a:gd name="connsiteY9" fmla="*/ 215741 h 386429"/>
                <a:gd name="connsiteX10" fmla="*/ 42767 w 338518"/>
                <a:gd name="connsiteY10" fmla="*/ 177546 h 386429"/>
                <a:gd name="connsiteX11" fmla="*/ 90773 w 338518"/>
                <a:gd name="connsiteY11" fmla="*/ 154972 h 386429"/>
                <a:gd name="connsiteX12" fmla="*/ 151162 w 338518"/>
                <a:gd name="connsiteY12" fmla="*/ 147542 h 386429"/>
                <a:gd name="connsiteX13" fmla="*/ 208788 w 338518"/>
                <a:gd name="connsiteY13" fmla="*/ 151829 h 386429"/>
                <a:gd name="connsiteX14" fmla="*/ 254413 w 338518"/>
                <a:gd name="connsiteY14" fmla="*/ 163163 h 386429"/>
                <a:gd name="connsiteX15" fmla="*/ 254413 w 338518"/>
                <a:gd name="connsiteY15" fmla="*/ 156115 h 386429"/>
                <a:gd name="connsiteX16" fmla="*/ 230696 w 338518"/>
                <a:gd name="connsiteY16" fmla="*/ 96774 h 386429"/>
                <a:gd name="connsiteX17" fmla="*/ 162496 w 338518"/>
                <a:gd name="connsiteY17" fmla="*/ 76295 h 386429"/>
                <a:gd name="connsiteX18" fmla="*/ 106013 w 338518"/>
                <a:gd name="connsiteY18" fmla="*/ 82677 h 386429"/>
                <a:gd name="connsiteX19" fmla="*/ 55816 w 338518"/>
                <a:gd name="connsiteY19" fmla="*/ 99632 h 386429"/>
                <a:gd name="connsiteX20" fmla="*/ 32480 w 338518"/>
                <a:gd name="connsiteY20" fmla="*/ 31052 h 386429"/>
                <a:gd name="connsiteX21" fmla="*/ 96107 w 338518"/>
                <a:gd name="connsiteY21" fmla="*/ 8477 h 386429"/>
                <a:gd name="connsiteX22" fmla="*/ 174593 w 338518"/>
                <a:gd name="connsiteY22" fmla="*/ 0 h 386429"/>
                <a:gd name="connsiteX23" fmla="*/ 298228 w 338518"/>
                <a:gd name="connsiteY23" fmla="*/ 41338 h 386429"/>
                <a:gd name="connsiteX24" fmla="*/ 338519 w 338518"/>
                <a:gd name="connsiteY24" fmla="*/ 157544 h 386429"/>
                <a:gd name="connsiteX25" fmla="*/ 338519 w 338518"/>
                <a:gd name="connsiteY25" fmla="*/ 378714 h 386429"/>
                <a:gd name="connsiteX26" fmla="*/ 253746 w 338518"/>
                <a:gd name="connsiteY26" fmla="*/ 378714 h 386429"/>
                <a:gd name="connsiteX27" fmla="*/ 255746 w 338518"/>
                <a:gd name="connsiteY27" fmla="*/ 222409 h 386429"/>
                <a:gd name="connsiteX28" fmla="*/ 217265 w 338518"/>
                <a:gd name="connsiteY28" fmla="*/ 211836 h 386429"/>
                <a:gd name="connsiteX29" fmla="*/ 170307 w 338518"/>
                <a:gd name="connsiteY29" fmla="*/ 207550 h 386429"/>
                <a:gd name="connsiteX30" fmla="*/ 107442 w 338518"/>
                <a:gd name="connsiteY30" fmla="*/ 223075 h 386429"/>
                <a:gd name="connsiteX31" fmla="*/ 84868 w 338518"/>
                <a:gd name="connsiteY31" fmla="*/ 265462 h 386429"/>
                <a:gd name="connsiteX32" fmla="*/ 84868 w 338518"/>
                <a:gd name="connsiteY32" fmla="*/ 266891 h 386429"/>
                <a:gd name="connsiteX33" fmla="*/ 105728 w 338518"/>
                <a:gd name="connsiteY33" fmla="*/ 307848 h 386429"/>
                <a:gd name="connsiteX34" fmla="*/ 156972 w 338518"/>
                <a:gd name="connsiteY34" fmla="*/ 321945 h 386429"/>
                <a:gd name="connsiteX35" fmla="*/ 196215 w 338518"/>
                <a:gd name="connsiteY35" fmla="*/ 316325 h 386429"/>
                <a:gd name="connsiteX36" fmla="*/ 227647 w 338518"/>
                <a:gd name="connsiteY36" fmla="*/ 300419 h 386429"/>
                <a:gd name="connsiteX37" fmla="*/ 248507 w 338518"/>
                <a:gd name="connsiteY37" fmla="*/ 275654 h 386429"/>
                <a:gd name="connsiteX38" fmla="*/ 255937 w 338518"/>
                <a:gd name="connsiteY38" fmla="*/ 243459 h 386429"/>
                <a:gd name="connsiteX39" fmla="*/ 255937 w 338518"/>
                <a:gd name="connsiteY39" fmla="*/ 222218 h 38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38518" h="386429">
                  <a:moveTo>
                    <a:pt x="253651" y="378619"/>
                  </a:moveTo>
                  <a:lnTo>
                    <a:pt x="253651" y="332708"/>
                  </a:lnTo>
                  <a:cubicBezTo>
                    <a:pt x="240887" y="347758"/>
                    <a:pt x="224695" y="360521"/>
                    <a:pt x="204883" y="370904"/>
                  </a:cubicBezTo>
                  <a:cubicBezTo>
                    <a:pt x="185071" y="381286"/>
                    <a:pt x="161068" y="386429"/>
                    <a:pt x="132779" y="386429"/>
                  </a:cubicBezTo>
                  <a:cubicBezTo>
                    <a:pt x="114871" y="386429"/>
                    <a:pt x="97917" y="383953"/>
                    <a:pt x="81915" y="379000"/>
                  </a:cubicBezTo>
                  <a:cubicBezTo>
                    <a:pt x="65913" y="374047"/>
                    <a:pt x="51911" y="366713"/>
                    <a:pt x="39910" y="357092"/>
                  </a:cubicBezTo>
                  <a:cubicBezTo>
                    <a:pt x="27908" y="347472"/>
                    <a:pt x="18193" y="335471"/>
                    <a:pt x="10954" y="321088"/>
                  </a:cubicBezTo>
                  <a:cubicBezTo>
                    <a:pt x="3620" y="306705"/>
                    <a:pt x="0" y="290132"/>
                    <a:pt x="0" y="271272"/>
                  </a:cubicBezTo>
                  <a:lnTo>
                    <a:pt x="0" y="269843"/>
                  </a:lnTo>
                  <a:cubicBezTo>
                    <a:pt x="0" y="249079"/>
                    <a:pt x="3810" y="231077"/>
                    <a:pt x="11335" y="215741"/>
                  </a:cubicBezTo>
                  <a:cubicBezTo>
                    <a:pt x="18859" y="200406"/>
                    <a:pt x="29337" y="187738"/>
                    <a:pt x="42767" y="177546"/>
                  </a:cubicBezTo>
                  <a:cubicBezTo>
                    <a:pt x="56197" y="167450"/>
                    <a:pt x="72199" y="159925"/>
                    <a:pt x="90773" y="154972"/>
                  </a:cubicBezTo>
                  <a:cubicBezTo>
                    <a:pt x="109347" y="150019"/>
                    <a:pt x="129540" y="147542"/>
                    <a:pt x="151162" y="147542"/>
                  </a:cubicBezTo>
                  <a:cubicBezTo>
                    <a:pt x="172783" y="147542"/>
                    <a:pt x="192976" y="148971"/>
                    <a:pt x="208788" y="151829"/>
                  </a:cubicBezTo>
                  <a:cubicBezTo>
                    <a:pt x="224599" y="154686"/>
                    <a:pt x="239744" y="158401"/>
                    <a:pt x="254413" y="163163"/>
                  </a:cubicBezTo>
                  <a:lnTo>
                    <a:pt x="254413" y="156115"/>
                  </a:lnTo>
                  <a:cubicBezTo>
                    <a:pt x="254413" y="130207"/>
                    <a:pt x="246507" y="110395"/>
                    <a:pt x="230696" y="96774"/>
                  </a:cubicBezTo>
                  <a:cubicBezTo>
                    <a:pt x="214884" y="83153"/>
                    <a:pt x="192214" y="76295"/>
                    <a:pt x="162496" y="76295"/>
                  </a:cubicBezTo>
                  <a:cubicBezTo>
                    <a:pt x="141351" y="76295"/>
                    <a:pt x="122491" y="78391"/>
                    <a:pt x="106013" y="82677"/>
                  </a:cubicBezTo>
                  <a:cubicBezTo>
                    <a:pt x="89535" y="86963"/>
                    <a:pt x="72771" y="92583"/>
                    <a:pt x="55816" y="99632"/>
                  </a:cubicBezTo>
                  <a:lnTo>
                    <a:pt x="32480" y="31052"/>
                  </a:lnTo>
                  <a:cubicBezTo>
                    <a:pt x="53149" y="21622"/>
                    <a:pt x="74390" y="14097"/>
                    <a:pt x="96107" y="8477"/>
                  </a:cubicBezTo>
                  <a:cubicBezTo>
                    <a:pt x="117729" y="2858"/>
                    <a:pt x="143923" y="0"/>
                    <a:pt x="174593" y="0"/>
                  </a:cubicBezTo>
                  <a:cubicBezTo>
                    <a:pt x="230124" y="0"/>
                    <a:pt x="271367" y="13811"/>
                    <a:pt x="298228" y="41338"/>
                  </a:cubicBezTo>
                  <a:cubicBezTo>
                    <a:pt x="325088" y="68866"/>
                    <a:pt x="338519" y="107633"/>
                    <a:pt x="338519" y="157544"/>
                  </a:cubicBezTo>
                  <a:lnTo>
                    <a:pt x="338519" y="378714"/>
                  </a:lnTo>
                  <a:lnTo>
                    <a:pt x="253746" y="378714"/>
                  </a:lnTo>
                  <a:close/>
                  <a:moveTo>
                    <a:pt x="255746" y="222409"/>
                  </a:moveTo>
                  <a:cubicBezTo>
                    <a:pt x="244888" y="218123"/>
                    <a:pt x="232029" y="214598"/>
                    <a:pt x="217265" y="211836"/>
                  </a:cubicBezTo>
                  <a:cubicBezTo>
                    <a:pt x="202406" y="208979"/>
                    <a:pt x="186785" y="207550"/>
                    <a:pt x="170307" y="207550"/>
                  </a:cubicBezTo>
                  <a:cubicBezTo>
                    <a:pt x="143446" y="207550"/>
                    <a:pt x="122491" y="212693"/>
                    <a:pt x="107442" y="223075"/>
                  </a:cubicBezTo>
                  <a:cubicBezTo>
                    <a:pt x="92392" y="233458"/>
                    <a:pt x="84868" y="247555"/>
                    <a:pt x="84868" y="265462"/>
                  </a:cubicBezTo>
                  <a:lnTo>
                    <a:pt x="84868" y="266891"/>
                  </a:lnTo>
                  <a:cubicBezTo>
                    <a:pt x="84868" y="284798"/>
                    <a:pt x="91821" y="298418"/>
                    <a:pt x="105728" y="307848"/>
                  </a:cubicBezTo>
                  <a:cubicBezTo>
                    <a:pt x="119634" y="317278"/>
                    <a:pt x="136684" y="321945"/>
                    <a:pt x="156972" y="321945"/>
                  </a:cubicBezTo>
                  <a:cubicBezTo>
                    <a:pt x="171069" y="321945"/>
                    <a:pt x="184213" y="320040"/>
                    <a:pt x="196215" y="316325"/>
                  </a:cubicBezTo>
                  <a:cubicBezTo>
                    <a:pt x="208216" y="312515"/>
                    <a:pt x="218694" y="307277"/>
                    <a:pt x="227647" y="300419"/>
                  </a:cubicBezTo>
                  <a:cubicBezTo>
                    <a:pt x="236601" y="293561"/>
                    <a:pt x="243554" y="285369"/>
                    <a:pt x="248507" y="275654"/>
                  </a:cubicBezTo>
                  <a:cubicBezTo>
                    <a:pt x="253460" y="266033"/>
                    <a:pt x="255937" y="255270"/>
                    <a:pt x="255937" y="243459"/>
                  </a:cubicBezTo>
                  <a:lnTo>
                    <a:pt x="255937" y="22221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5" name="Freeform: Shape 27">
              <a:extLst>
                <a:ext uri="{FF2B5EF4-FFF2-40B4-BE49-F238E27FC236}">
                  <a16:creationId xmlns:a16="http://schemas.microsoft.com/office/drawing/2014/main" id="{1DAF7BCF-AE7E-6174-4DE9-3172E2D1F159}"/>
                </a:ext>
              </a:extLst>
            </p:cNvPr>
            <p:cNvSpPr/>
            <p:nvPr/>
          </p:nvSpPr>
          <p:spPr>
            <a:xfrm>
              <a:off x="6088843" y="700318"/>
              <a:ext cx="74610" cy="97213"/>
            </a:xfrm>
            <a:custGeom>
              <a:avLst/>
              <a:gdLst>
                <a:gd name="connsiteX0" fmla="*/ 158305 w 296799"/>
                <a:gd name="connsiteY0" fmla="*/ 386715 h 386714"/>
                <a:gd name="connsiteX1" fmla="*/ 76676 w 296799"/>
                <a:gd name="connsiteY1" fmla="*/ 372427 h 386714"/>
                <a:gd name="connsiteX2" fmla="*/ 0 w 296799"/>
                <a:gd name="connsiteY2" fmla="*/ 330327 h 386714"/>
                <a:gd name="connsiteX3" fmla="*/ 38195 w 296799"/>
                <a:gd name="connsiteY3" fmla="*/ 272224 h 386714"/>
                <a:gd name="connsiteX4" fmla="*/ 100013 w 296799"/>
                <a:gd name="connsiteY4" fmla="*/ 306514 h 386714"/>
                <a:gd name="connsiteX5" fmla="*/ 160401 w 296799"/>
                <a:gd name="connsiteY5" fmla="*/ 318135 h 386714"/>
                <a:gd name="connsiteX6" fmla="*/ 203168 w 296799"/>
                <a:gd name="connsiteY6" fmla="*/ 307181 h 386714"/>
                <a:gd name="connsiteX7" fmla="*/ 218408 w 296799"/>
                <a:gd name="connsiteY7" fmla="*/ 277939 h 386714"/>
                <a:gd name="connsiteX8" fmla="*/ 218408 w 296799"/>
                <a:gd name="connsiteY8" fmla="*/ 276511 h 386714"/>
                <a:gd name="connsiteX9" fmla="*/ 211646 w 296799"/>
                <a:gd name="connsiteY9" fmla="*/ 258223 h 386714"/>
                <a:gd name="connsiteX10" fmla="*/ 193262 w 296799"/>
                <a:gd name="connsiteY10" fmla="*/ 244792 h 386714"/>
                <a:gd name="connsiteX11" fmla="*/ 166402 w 296799"/>
                <a:gd name="connsiteY11" fmla="*/ 234220 h 386714"/>
                <a:gd name="connsiteX12" fmla="*/ 134969 w 296799"/>
                <a:gd name="connsiteY12" fmla="*/ 224314 h 386714"/>
                <a:gd name="connsiteX13" fmla="*/ 93631 w 296799"/>
                <a:gd name="connsiteY13" fmla="*/ 210884 h 386714"/>
                <a:gd name="connsiteX14" fmla="*/ 56197 w 296799"/>
                <a:gd name="connsiteY14" fmla="*/ 190786 h 386714"/>
                <a:gd name="connsiteX15" fmla="*/ 28956 w 296799"/>
                <a:gd name="connsiteY15" fmla="*/ 160115 h 386714"/>
                <a:gd name="connsiteX16" fmla="*/ 18383 w 296799"/>
                <a:gd name="connsiteY16" fmla="*/ 114967 h 386714"/>
                <a:gd name="connsiteX17" fmla="*/ 18383 w 296799"/>
                <a:gd name="connsiteY17" fmla="*/ 113538 h 386714"/>
                <a:gd name="connsiteX18" fmla="*/ 28575 w 296799"/>
                <a:gd name="connsiteY18" fmla="*/ 66294 h 386714"/>
                <a:gd name="connsiteX19" fmla="*/ 56864 w 296799"/>
                <a:gd name="connsiteY19" fmla="*/ 30385 h 386714"/>
                <a:gd name="connsiteX20" fmla="*/ 99250 w 296799"/>
                <a:gd name="connsiteY20" fmla="*/ 7810 h 386714"/>
                <a:gd name="connsiteX21" fmla="*/ 151162 w 296799"/>
                <a:gd name="connsiteY21" fmla="*/ 0 h 386714"/>
                <a:gd name="connsiteX22" fmla="*/ 222504 w 296799"/>
                <a:gd name="connsiteY22" fmla="*/ 11430 h 386714"/>
                <a:gd name="connsiteX23" fmla="*/ 288227 w 296799"/>
                <a:gd name="connsiteY23" fmla="*/ 42863 h 386714"/>
                <a:gd name="connsiteX24" fmla="*/ 254317 w 296799"/>
                <a:gd name="connsiteY24" fmla="*/ 103918 h 386714"/>
                <a:gd name="connsiteX25" fmla="*/ 199930 w 296799"/>
                <a:gd name="connsiteY25" fmla="*/ 78105 h 386714"/>
                <a:gd name="connsiteX26" fmla="*/ 149066 w 296799"/>
                <a:gd name="connsiteY26" fmla="*/ 68580 h 386714"/>
                <a:gd name="connsiteX27" fmla="*/ 110585 w 296799"/>
                <a:gd name="connsiteY27" fmla="*/ 79153 h 386714"/>
                <a:gd name="connsiteX28" fmla="*/ 96774 w 296799"/>
                <a:gd name="connsiteY28" fmla="*/ 105918 h 386714"/>
                <a:gd name="connsiteX29" fmla="*/ 96774 w 296799"/>
                <a:gd name="connsiteY29" fmla="*/ 107347 h 386714"/>
                <a:gd name="connsiteX30" fmla="*/ 103822 w 296799"/>
                <a:gd name="connsiteY30" fmla="*/ 124587 h 386714"/>
                <a:gd name="connsiteX31" fmla="*/ 122587 w 296799"/>
                <a:gd name="connsiteY31" fmla="*/ 138017 h 386714"/>
                <a:gd name="connsiteX32" fmla="*/ 149447 w 296799"/>
                <a:gd name="connsiteY32" fmla="*/ 149257 h 386714"/>
                <a:gd name="connsiteX33" fmla="*/ 180880 w 296799"/>
                <a:gd name="connsiteY33" fmla="*/ 159448 h 386714"/>
                <a:gd name="connsiteX34" fmla="*/ 221837 w 296799"/>
                <a:gd name="connsiteY34" fmla="*/ 174212 h 386714"/>
                <a:gd name="connsiteX35" fmla="*/ 258985 w 296799"/>
                <a:gd name="connsiteY35" fmla="*/ 194977 h 386714"/>
                <a:gd name="connsiteX36" fmla="*/ 286226 w 296799"/>
                <a:gd name="connsiteY36" fmla="*/ 224980 h 386714"/>
                <a:gd name="connsiteX37" fmla="*/ 296799 w 296799"/>
                <a:gd name="connsiteY37" fmla="*/ 267938 h 386714"/>
                <a:gd name="connsiteX38" fmla="*/ 296799 w 296799"/>
                <a:gd name="connsiteY38" fmla="*/ 269367 h 386714"/>
                <a:gd name="connsiteX39" fmla="*/ 286226 w 296799"/>
                <a:gd name="connsiteY39" fmla="*/ 320897 h 386714"/>
                <a:gd name="connsiteX40" fmla="*/ 256889 w 296799"/>
                <a:gd name="connsiteY40" fmla="*/ 357188 h 386714"/>
                <a:gd name="connsiteX41" fmla="*/ 212693 w 296799"/>
                <a:gd name="connsiteY41" fmla="*/ 379095 h 386714"/>
                <a:gd name="connsiteX42" fmla="*/ 158305 w 296799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799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7" y="348901"/>
                    <a:pt x="0" y="330327"/>
                  </a:cubicBezTo>
                  <a:lnTo>
                    <a:pt x="38195" y="272224"/>
                  </a:lnTo>
                  <a:cubicBezTo>
                    <a:pt x="58483" y="287274"/>
                    <a:pt x="79057" y="298704"/>
                    <a:pt x="100013" y="306514"/>
                  </a:cubicBezTo>
                  <a:cubicBezTo>
                    <a:pt x="120967" y="314325"/>
                    <a:pt x="141065" y="318135"/>
                    <a:pt x="160401" y="318135"/>
                  </a:cubicBezTo>
                  <a:cubicBezTo>
                    <a:pt x="179737" y="318135"/>
                    <a:pt x="193072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6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2" y="241078"/>
                    <a:pt x="176498" y="237553"/>
                    <a:pt x="166402" y="234220"/>
                  </a:cubicBezTo>
                  <a:cubicBezTo>
                    <a:pt x="156305" y="230886"/>
                    <a:pt x="145828" y="227647"/>
                    <a:pt x="134969" y="224314"/>
                  </a:cubicBezTo>
                  <a:cubicBezTo>
                    <a:pt x="121348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004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3" y="40195"/>
                    <a:pt x="56864" y="30385"/>
                  </a:cubicBezTo>
                  <a:cubicBezTo>
                    <a:pt x="68866" y="20479"/>
                    <a:pt x="82963" y="12954"/>
                    <a:pt x="99250" y="7810"/>
                  </a:cubicBezTo>
                  <a:cubicBezTo>
                    <a:pt x="115538" y="2667"/>
                    <a:pt x="132874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7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774" y="95155"/>
                    <a:pt x="96774" y="105918"/>
                  </a:cubicBezTo>
                  <a:lnTo>
                    <a:pt x="96774" y="107347"/>
                  </a:lnTo>
                  <a:cubicBezTo>
                    <a:pt x="96774" y="113919"/>
                    <a:pt x="99155" y="119634"/>
                    <a:pt x="103822" y="124587"/>
                  </a:cubicBezTo>
                  <a:cubicBezTo>
                    <a:pt x="108490" y="129540"/>
                    <a:pt x="114776" y="134017"/>
                    <a:pt x="122587" y="138017"/>
                  </a:cubicBezTo>
                  <a:cubicBezTo>
                    <a:pt x="130397" y="142018"/>
                    <a:pt x="139351" y="145732"/>
                    <a:pt x="149447" y="149257"/>
                  </a:cubicBezTo>
                  <a:cubicBezTo>
                    <a:pt x="159544" y="152781"/>
                    <a:pt x="170021" y="156210"/>
                    <a:pt x="180880" y="159448"/>
                  </a:cubicBezTo>
                  <a:cubicBezTo>
                    <a:pt x="194500" y="163639"/>
                    <a:pt x="208216" y="168592"/>
                    <a:pt x="221837" y="174212"/>
                  </a:cubicBezTo>
                  <a:cubicBezTo>
                    <a:pt x="235458" y="179832"/>
                    <a:pt x="247840" y="186785"/>
                    <a:pt x="258985" y="194977"/>
                  </a:cubicBezTo>
                  <a:cubicBezTo>
                    <a:pt x="270034" y="203168"/>
                    <a:pt x="279178" y="213169"/>
                    <a:pt x="286226" y="224980"/>
                  </a:cubicBezTo>
                  <a:cubicBezTo>
                    <a:pt x="293275" y="236696"/>
                    <a:pt x="296799" y="251079"/>
                    <a:pt x="296799" y="267938"/>
                  </a:cubicBezTo>
                  <a:lnTo>
                    <a:pt x="296799" y="269367"/>
                  </a:lnTo>
                  <a:cubicBezTo>
                    <a:pt x="296799" y="289084"/>
                    <a:pt x="293275" y="306229"/>
                    <a:pt x="286226" y="320897"/>
                  </a:cubicBezTo>
                  <a:cubicBezTo>
                    <a:pt x="279178" y="335470"/>
                    <a:pt x="269367" y="347567"/>
                    <a:pt x="256889" y="357188"/>
                  </a:cubicBezTo>
                  <a:cubicBezTo>
                    <a:pt x="244412" y="366808"/>
                    <a:pt x="229648" y="374142"/>
                    <a:pt x="212693" y="379095"/>
                  </a:cubicBezTo>
                  <a:cubicBezTo>
                    <a:pt x="195739" y="384048"/>
                    <a:pt x="177641" y="386524"/>
                    <a:pt x="158305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6" name="Freeform: Shape 28">
              <a:extLst>
                <a:ext uri="{FF2B5EF4-FFF2-40B4-BE49-F238E27FC236}">
                  <a16:creationId xmlns:a16="http://schemas.microsoft.com/office/drawing/2014/main" id="{9F29666A-3CF4-8070-B572-99A45AE30255}"/>
                </a:ext>
              </a:extLst>
            </p:cNvPr>
            <p:cNvSpPr/>
            <p:nvPr/>
          </p:nvSpPr>
          <p:spPr>
            <a:xfrm>
              <a:off x="6238590" y="700007"/>
              <a:ext cx="142827" cy="95777"/>
            </a:xfrm>
            <a:custGeom>
              <a:avLst/>
              <a:gdLst>
                <a:gd name="connsiteX0" fmla="*/ 0 w 568166"/>
                <a:gd name="connsiteY0" fmla="*/ 7715 h 381000"/>
                <a:gd name="connsiteX1" fmla="*/ 86201 w 568166"/>
                <a:gd name="connsiteY1" fmla="*/ 7715 h 381000"/>
                <a:gd name="connsiteX2" fmla="*/ 86201 w 568166"/>
                <a:gd name="connsiteY2" fmla="*/ 64865 h 381000"/>
                <a:gd name="connsiteX3" fmla="*/ 105918 w 568166"/>
                <a:gd name="connsiteY3" fmla="*/ 40576 h 381000"/>
                <a:gd name="connsiteX4" fmla="*/ 130207 w 568166"/>
                <a:gd name="connsiteY4" fmla="*/ 19907 h 381000"/>
                <a:gd name="connsiteX5" fmla="*/ 161163 w 568166"/>
                <a:gd name="connsiteY5" fmla="*/ 5334 h 381000"/>
                <a:gd name="connsiteX6" fmla="*/ 199549 w 568166"/>
                <a:gd name="connsiteY6" fmla="*/ 0 h 381000"/>
                <a:gd name="connsiteX7" fmla="*/ 267557 w 568166"/>
                <a:gd name="connsiteY7" fmla="*/ 18193 h 381000"/>
                <a:gd name="connsiteX8" fmla="*/ 310134 w 568166"/>
                <a:gd name="connsiteY8" fmla="*/ 66294 h 381000"/>
                <a:gd name="connsiteX9" fmla="*/ 363664 w 568166"/>
                <a:gd name="connsiteY9" fmla="*/ 18193 h 381000"/>
                <a:gd name="connsiteX10" fmla="*/ 437007 w 568166"/>
                <a:gd name="connsiteY10" fmla="*/ 0 h 381000"/>
                <a:gd name="connsiteX11" fmla="*/ 533400 w 568166"/>
                <a:gd name="connsiteY11" fmla="*/ 37147 h 381000"/>
                <a:gd name="connsiteX12" fmla="*/ 568166 w 568166"/>
                <a:gd name="connsiteY12" fmla="*/ 142780 h 381000"/>
                <a:gd name="connsiteX13" fmla="*/ 568166 w 568166"/>
                <a:gd name="connsiteY13" fmla="*/ 380905 h 381000"/>
                <a:gd name="connsiteX14" fmla="*/ 481965 w 568166"/>
                <a:gd name="connsiteY14" fmla="*/ 380905 h 381000"/>
                <a:gd name="connsiteX15" fmla="*/ 481965 w 568166"/>
                <a:gd name="connsiteY15" fmla="*/ 169450 h 381000"/>
                <a:gd name="connsiteX16" fmla="*/ 462248 w 568166"/>
                <a:gd name="connsiteY16" fmla="*/ 101727 h 381000"/>
                <a:gd name="connsiteX17" fmla="*/ 406717 w 568166"/>
                <a:gd name="connsiteY17" fmla="*/ 78486 h 381000"/>
                <a:gd name="connsiteX18" fmla="*/ 349377 w 568166"/>
                <a:gd name="connsiteY18" fmla="*/ 102108 h 381000"/>
                <a:gd name="connsiteX19" fmla="*/ 327184 w 568166"/>
                <a:gd name="connsiteY19" fmla="*/ 170879 h 381000"/>
                <a:gd name="connsiteX20" fmla="*/ 327184 w 568166"/>
                <a:gd name="connsiteY20" fmla="*/ 381000 h 381000"/>
                <a:gd name="connsiteX21" fmla="*/ 240982 w 568166"/>
                <a:gd name="connsiteY21" fmla="*/ 381000 h 381000"/>
                <a:gd name="connsiteX22" fmla="*/ 240982 w 568166"/>
                <a:gd name="connsiteY22" fmla="*/ 168783 h 381000"/>
                <a:gd name="connsiteX23" fmla="*/ 221266 w 568166"/>
                <a:gd name="connsiteY23" fmla="*/ 101822 h 381000"/>
                <a:gd name="connsiteX24" fmla="*/ 165640 w 568166"/>
                <a:gd name="connsiteY24" fmla="*/ 78581 h 381000"/>
                <a:gd name="connsiteX25" fmla="*/ 108013 w 568166"/>
                <a:gd name="connsiteY25" fmla="*/ 103251 h 381000"/>
                <a:gd name="connsiteX26" fmla="*/ 86201 w 568166"/>
                <a:gd name="connsiteY26" fmla="*/ 171641 h 381000"/>
                <a:gd name="connsiteX27" fmla="*/ 86201 w 568166"/>
                <a:gd name="connsiteY27" fmla="*/ 381000 h 381000"/>
                <a:gd name="connsiteX28" fmla="*/ 0 w 568166"/>
                <a:gd name="connsiteY28" fmla="*/ 381000 h 381000"/>
                <a:gd name="connsiteX29" fmla="*/ 0 w 568166"/>
                <a:gd name="connsiteY29" fmla="*/ 790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8166" h="381000">
                  <a:moveTo>
                    <a:pt x="0" y="7715"/>
                  </a:moveTo>
                  <a:lnTo>
                    <a:pt x="86201" y="7715"/>
                  </a:lnTo>
                  <a:lnTo>
                    <a:pt x="86201" y="64865"/>
                  </a:lnTo>
                  <a:cubicBezTo>
                    <a:pt x="92297" y="56293"/>
                    <a:pt x="98869" y="48196"/>
                    <a:pt x="105918" y="40576"/>
                  </a:cubicBezTo>
                  <a:cubicBezTo>
                    <a:pt x="112966" y="32956"/>
                    <a:pt x="121063" y="26099"/>
                    <a:pt x="130207" y="19907"/>
                  </a:cubicBezTo>
                  <a:cubicBezTo>
                    <a:pt x="139351" y="13716"/>
                    <a:pt x="149638" y="8858"/>
                    <a:pt x="161163" y="5334"/>
                  </a:cubicBezTo>
                  <a:cubicBezTo>
                    <a:pt x="172688" y="1714"/>
                    <a:pt x="185452" y="0"/>
                    <a:pt x="199549" y="0"/>
                  </a:cubicBezTo>
                  <a:cubicBezTo>
                    <a:pt x="226314" y="0"/>
                    <a:pt x="248983" y="6096"/>
                    <a:pt x="267557" y="18193"/>
                  </a:cubicBezTo>
                  <a:cubicBezTo>
                    <a:pt x="286131" y="30289"/>
                    <a:pt x="300323" y="46387"/>
                    <a:pt x="310134" y="66294"/>
                  </a:cubicBezTo>
                  <a:cubicBezTo>
                    <a:pt x="325279" y="46387"/>
                    <a:pt x="343090" y="30289"/>
                    <a:pt x="363664" y="18193"/>
                  </a:cubicBezTo>
                  <a:cubicBezTo>
                    <a:pt x="384238" y="6096"/>
                    <a:pt x="408718" y="0"/>
                    <a:pt x="437007" y="0"/>
                  </a:cubicBezTo>
                  <a:cubicBezTo>
                    <a:pt x="478155" y="0"/>
                    <a:pt x="510254" y="12383"/>
                    <a:pt x="533400" y="37147"/>
                  </a:cubicBezTo>
                  <a:cubicBezTo>
                    <a:pt x="556546" y="61913"/>
                    <a:pt x="568166" y="97060"/>
                    <a:pt x="568166" y="142780"/>
                  </a:cubicBezTo>
                  <a:lnTo>
                    <a:pt x="568166" y="380905"/>
                  </a:lnTo>
                  <a:lnTo>
                    <a:pt x="481965" y="380905"/>
                  </a:lnTo>
                  <a:lnTo>
                    <a:pt x="481965" y="169450"/>
                  </a:lnTo>
                  <a:cubicBezTo>
                    <a:pt x="481965" y="139827"/>
                    <a:pt x="475393" y="117253"/>
                    <a:pt x="462248" y="101727"/>
                  </a:cubicBezTo>
                  <a:cubicBezTo>
                    <a:pt x="449104" y="86201"/>
                    <a:pt x="430625" y="78486"/>
                    <a:pt x="406717" y="78486"/>
                  </a:cubicBezTo>
                  <a:cubicBezTo>
                    <a:pt x="382809" y="78486"/>
                    <a:pt x="364141" y="86392"/>
                    <a:pt x="349377" y="102108"/>
                  </a:cubicBezTo>
                  <a:cubicBezTo>
                    <a:pt x="334613" y="117824"/>
                    <a:pt x="327184" y="140779"/>
                    <a:pt x="327184" y="170879"/>
                  </a:cubicBezTo>
                  <a:lnTo>
                    <a:pt x="327184" y="381000"/>
                  </a:lnTo>
                  <a:lnTo>
                    <a:pt x="240982" y="381000"/>
                  </a:lnTo>
                  <a:lnTo>
                    <a:pt x="240982" y="168783"/>
                  </a:lnTo>
                  <a:cubicBezTo>
                    <a:pt x="240982" y="139637"/>
                    <a:pt x="234410" y="117348"/>
                    <a:pt x="221266" y="101822"/>
                  </a:cubicBezTo>
                  <a:cubicBezTo>
                    <a:pt x="208121" y="86296"/>
                    <a:pt x="189547" y="78581"/>
                    <a:pt x="165640" y="78581"/>
                  </a:cubicBezTo>
                  <a:cubicBezTo>
                    <a:pt x="141732" y="78581"/>
                    <a:pt x="122491" y="86773"/>
                    <a:pt x="108013" y="103251"/>
                  </a:cubicBezTo>
                  <a:cubicBezTo>
                    <a:pt x="93440" y="119729"/>
                    <a:pt x="86201" y="142494"/>
                    <a:pt x="86201" y="171641"/>
                  </a:cubicBezTo>
                  <a:lnTo>
                    <a:pt x="86201" y="381000"/>
                  </a:lnTo>
                  <a:lnTo>
                    <a:pt x="0" y="381000"/>
                  </a:lnTo>
                  <a:lnTo>
                    <a:pt x="0" y="7906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7" name="Freeform: Shape 29">
              <a:extLst>
                <a:ext uri="{FF2B5EF4-FFF2-40B4-BE49-F238E27FC236}">
                  <a16:creationId xmlns:a16="http://schemas.microsoft.com/office/drawing/2014/main" id="{4CD31321-868B-C5B2-71D1-2F3935AEC88E}"/>
                </a:ext>
              </a:extLst>
            </p:cNvPr>
            <p:cNvSpPr/>
            <p:nvPr/>
          </p:nvSpPr>
          <p:spPr>
            <a:xfrm>
              <a:off x="6400979" y="664258"/>
              <a:ext cx="85097" cy="133441"/>
            </a:xfrm>
            <a:custGeom>
              <a:avLst/>
              <a:gdLst>
                <a:gd name="connsiteX0" fmla="*/ 253651 w 338518"/>
                <a:gd name="connsiteY0" fmla="*/ 523018 h 530828"/>
                <a:gd name="connsiteX1" fmla="*/ 253651 w 338518"/>
                <a:gd name="connsiteY1" fmla="*/ 477107 h 530828"/>
                <a:gd name="connsiteX2" fmla="*/ 204883 w 338518"/>
                <a:gd name="connsiteY2" fmla="*/ 515303 h 530828"/>
                <a:gd name="connsiteX3" fmla="*/ 132779 w 338518"/>
                <a:gd name="connsiteY3" fmla="*/ 530828 h 530828"/>
                <a:gd name="connsiteX4" fmla="*/ 81915 w 338518"/>
                <a:gd name="connsiteY4" fmla="*/ 523399 h 530828"/>
                <a:gd name="connsiteX5" fmla="*/ 39910 w 338518"/>
                <a:gd name="connsiteY5" fmla="*/ 501491 h 530828"/>
                <a:gd name="connsiteX6" fmla="*/ 10954 w 338518"/>
                <a:gd name="connsiteY6" fmla="*/ 465487 h 530828"/>
                <a:gd name="connsiteX7" fmla="*/ 0 w 338518"/>
                <a:gd name="connsiteY7" fmla="*/ 415671 h 530828"/>
                <a:gd name="connsiteX8" fmla="*/ 0 w 338518"/>
                <a:gd name="connsiteY8" fmla="*/ 414242 h 530828"/>
                <a:gd name="connsiteX9" fmla="*/ 11335 w 338518"/>
                <a:gd name="connsiteY9" fmla="*/ 360140 h 530828"/>
                <a:gd name="connsiteX10" fmla="*/ 42767 w 338518"/>
                <a:gd name="connsiteY10" fmla="*/ 321945 h 530828"/>
                <a:gd name="connsiteX11" fmla="*/ 90773 w 338518"/>
                <a:gd name="connsiteY11" fmla="*/ 299371 h 530828"/>
                <a:gd name="connsiteX12" fmla="*/ 151162 w 338518"/>
                <a:gd name="connsiteY12" fmla="*/ 291941 h 530828"/>
                <a:gd name="connsiteX13" fmla="*/ 208788 w 338518"/>
                <a:gd name="connsiteY13" fmla="*/ 296228 h 530828"/>
                <a:gd name="connsiteX14" fmla="*/ 254413 w 338518"/>
                <a:gd name="connsiteY14" fmla="*/ 307562 h 530828"/>
                <a:gd name="connsiteX15" fmla="*/ 254413 w 338518"/>
                <a:gd name="connsiteY15" fmla="*/ 300514 h 530828"/>
                <a:gd name="connsiteX16" fmla="*/ 230696 w 338518"/>
                <a:gd name="connsiteY16" fmla="*/ 241173 h 530828"/>
                <a:gd name="connsiteX17" fmla="*/ 162496 w 338518"/>
                <a:gd name="connsiteY17" fmla="*/ 220694 h 530828"/>
                <a:gd name="connsiteX18" fmla="*/ 106013 w 338518"/>
                <a:gd name="connsiteY18" fmla="*/ 227076 h 530828"/>
                <a:gd name="connsiteX19" fmla="*/ 55817 w 338518"/>
                <a:gd name="connsiteY19" fmla="*/ 244031 h 530828"/>
                <a:gd name="connsiteX20" fmla="*/ 32480 w 338518"/>
                <a:gd name="connsiteY20" fmla="*/ 175451 h 530828"/>
                <a:gd name="connsiteX21" fmla="*/ 96107 w 338518"/>
                <a:gd name="connsiteY21" fmla="*/ 152876 h 530828"/>
                <a:gd name="connsiteX22" fmla="*/ 174593 w 338518"/>
                <a:gd name="connsiteY22" fmla="*/ 144399 h 530828"/>
                <a:gd name="connsiteX23" fmla="*/ 298228 w 338518"/>
                <a:gd name="connsiteY23" fmla="*/ 185738 h 530828"/>
                <a:gd name="connsiteX24" fmla="*/ 338519 w 338518"/>
                <a:gd name="connsiteY24" fmla="*/ 301943 h 530828"/>
                <a:gd name="connsiteX25" fmla="*/ 338519 w 338518"/>
                <a:gd name="connsiteY25" fmla="*/ 523113 h 530828"/>
                <a:gd name="connsiteX26" fmla="*/ 253746 w 338518"/>
                <a:gd name="connsiteY26" fmla="*/ 523113 h 530828"/>
                <a:gd name="connsiteX27" fmla="*/ 45911 w 338518"/>
                <a:gd name="connsiteY27" fmla="*/ 95441 h 530828"/>
                <a:gd name="connsiteX28" fmla="*/ 75248 w 338518"/>
                <a:gd name="connsiteY28" fmla="*/ 29718 h 530828"/>
                <a:gd name="connsiteX29" fmla="*/ 125063 w 338518"/>
                <a:gd name="connsiteY29" fmla="*/ 7144 h 530828"/>
                <a:gd name="connsiteX30" fmla="*/ 154019 w 338518"/>
                <a:gd name="connsiteY30" fmla="*/ 11716 h 530828"/>
                <a:gd name="connsiteX31" fmla="*/ 181261 w 338518"/>
                <a:gd name="connsiteY31" fmla="*/ 21622 h 530828"/>
                <a:gd name="connsiteX32" fmla="*/ 205645 w 338518"/>
                <a:gd name="connsiteY32" fmla="*/ 31147 h 530828"/>
                <a:gd name="connsiteX33" fmla="*/ 226790 w 338518"/>
                <a:gd name="connsiteY33" fmla="*/ 35338 h 530828"/>
                <a:gd name="connsiteX34" fmla="*/ 250127 w 338518"/>
                <a:gd name="connsiteY34" fmla="*/ 26861 h 530828"/>
                <a:gd name="connsiteX35" fmla="*/ 265652 w 338518"/>
                <a:gd name="connsiteY35" fmla="*/ 0 h 530828"/>
                <a:gd name="connsiteX36" fmla="*/ 312991 w 338518"/>
                <a:gd name="connsiteY36" fmla="*/ 14859 h 530828"/>
                <a:gd name="connsiteX37" fmla="*/ 283655 w 338518"/>
                <a:gd name="connsiteY37" fmla="*/ 79820 h 530828"/>
                <a:gd name="connsiteX38" fmla="*/ 233839 w 338518"/>
                <a:gd name="connsiteY38" fmla="*/ 102394 h 530828"/>
                <a:gd name="connsiteX39" fmla="*/ 204883 w 338518"/>
                <a:gd name="connsiteY39" fmla="*/ 98203 h 530828"/>
                <a:gd name="connsiteX40" fmla="*/ 177641 w 338518"/>
                <a:gd name="connsiteY40" fmla="*/ 88678 h 530828"/>
                <a:gd name="connsiteX41" fmla="*/ 152876 w 338518"/>
                <a:gd name="connsiteY41" fmla="*/ 78772 h 530828"/>
                <a:gd name="connsiteX42" fmla="*/ 132017 w 338518"/>
                <a:gd name="connsiteY42" fmla="*/ 74200 h 530828"/>
                <a:gd name="connsiteX43" fmla="*/ 108680 w 338518"/>
                <a:gd name="connsiteY43" fmla="*/ 82677 h 530828"/>
                <a:gd name="connsiteX44" fmla="*/ 93154 w 338518"/>
                <a:gd name="connsiteY44" fmla="*/ 109538 h 530828"/>
                <a:gd name="connsiteX45" fmla="*/ 45815 w 338518"/>
                <a:gd name="connsiteY45" fmla="*/ 95441 h 530828"/>
                <a:gd name="connsiteX46" fmla="*/ 255842 w 338518"/>
                <a:gd name="connsiteY46" fmla="*/ 366808 h 530828"/>
                <a:gd name="connsiteX47" fmla="*/ 217361 w 338518"/>
                <a:gd name="connsiteY47" fmla="*/ 356235 h 530828"/>
                <a:gd name="connsiteX48" fmla="*/ 170402 w 338518"/>
                <a:gd name="connsiteY48" fmla="*/ 351949 h 530828"/>
                <a:gd name="connsiteX49" fmla="*/ 107537 w 338518"/>
                <a:gd name="connsiteY49" fmla="*/ 367475 h 530828"/>
                <a:gd name="connsiteX50" fmla="*/ 84963 w 338518"/>
                <a:gd name="connsiteY50" fmla="*/ 409861 h 530828"/>
                <a:gd name="connsiteX51" fmla="*/ 84963 w 338518"/>
                <a:gd name="connsiteY51" fmla="*/ 411290 h 530828"/>
                <a:gd name="connsiteX52" fmla="*/ 105823 w 338518"/>
                <a:gd name="connsiteY52" fmla="*/ 452247 h 530828"/>
                <a:gd name="connsiteX53" fmla="*/ 157067 w 338518"/>
                <a:gd name="connsiteY53" fmla="*/ 466344 h 530828"/>
                <a:gd name="connsiteX54" fmla="*/ 196310 w 338518"/>
                <a:gd name="connsiteY54" fmla="*/ 460724 h 530828"/>
                <a:gd name="connsiteX55" fmla="*/ 227743 w 338518"/>
                <a:gd name="connsiteY55" fmla="*/ 444818 h 530828"/>
                <a:gd name="connsiteX56" fmla="*/ 248603 w 338518"/>
                <a:gd name="connsiteY56" fmla="*/ 420053 h 530828"/>
                <a:gd name="connsiteX57" fmla="*/ 256032 w 338518"/>
                <a:gd name="connsiteY57" fmla="*/ 387858 h 530828"/>
                <a:gd name="connsiteX58" fmla="*/ 256032 w 338518"/>
                <a:gd name="connsiteY58" fmla="*/ 366617 h 5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8518" h="530828">
                  <a:moveTo>
                    <a:pt x="253651" y="523018"/>
                  </a:moveTo>
                  <a:lnTo>
                    <a:pt x="253651" y="477107"/>
                  </a:lnTo>
                  <a:cubicBezTo>
                    <a:pt x="240887" y="492157"/>
                    <a:pt x="224695" y="504920"/>
                    <a:pt x="204883" y="515303"/>
                  </a:cubicBezTo>
                  <a:cubicBezTo>
                    <a:pt x="185071" y="525685"/>
                    <a:pt x="161068" y="530828"/>
                    <a:pt x="132779" y="530828"/>
                  </a:cubicBezTo>
                  <a:cubicBezTo>
                    <a:pt x="114871" y="530828"/>
                    <a:pt x="97917" y="528352"/>
                    <a:pt x="81915" y="523399"/>
                  </a:cubicBezTo>
                  <a:cubicBezTo>
                    <a:pt x="65913" y="518446"/>
                    <a:pt x="51911" y="511112"/>
                    <a:pt x="39910" y="501491"/>
                  </a:cubicBezTo>
                  <a:cubicBezTo>
                    <a:pt x="27908" y="491871"/>
                    <a:pt x="18193" y="479870"/>
                    <a:pt x="10954" y="465487"/>
                  </a:cubicBezTo>
                  <a:cubicBezTo>
                    <a:pt x="3620" y="451104"/>
                    <a:pt x="0" y="434531"/>
                    <a:pt x="0" y="415671"/>
                  </a:cubicBezTo>
                  <a:lnTo>
                    <a:pt x="0" y="414242"/>
                  </a:lnTo>
                  <a:cubicBezTo>
                    <a:pt x="0" y="393478"/>
                    <a:pt x="3810" y="375476"/>
                    <a:pt x="11335" y="360140"/>
                  </a:cubicBezTo>
                  <a:cubicBezTo>
                    <a:pt x="18860" y="344805"/>
                    <a:pt x="29337" y="332137"/>
                    <a:pt x="42767" y="321945"/>
                  </a:cubicBezTo>
                  <a:cubicBezTo>
                    <a:pt x="56198" y="311849"/>
                    <a:pt x="72200" y="304324"/>
                    <a:pt x="90773" y="299371"/>
                  </a:cubicBezTo>
                  <a:cubicBezTo>
                    <a:pt x="109347" y="294418"/>
                    <a:pt x="129540" y="291941"/>
                    <a:pt x="151162" y="291941"/>
                  </a:cubicBezTo>
                  <a:cubicBezTo>
                    <a:pt x="172784" y="291941"/>
                    <a:pt x="192977" y="293370"/>
                    <a:pt x="208788" y="296228"/>
                  </a:cubicBezTo>
                  <a:cubicBezTo>
                    <a:pt x="224600" y="299085"/>
                    <a:pt x="239744" y="302800"/>
                    <a:pt x="254413" y="307562"/>
                  </a:cubicBezTo>
                  <a:lnTo>
                    <a:pt x="254413" y="300514"/>
                  </a:lnTo>
                  <a:cubicBezTo>
                    <a:pt x="254413" y="274606"/>
                    <a:pt x="246507" y="254794"/>
                    <a:pt x="230696" y="241173"/>
                  </a:cubicBezTo>
                  <a:cubicBezTo>
                    <a:pt x="214884" y="227552"/>
                    <a:pt x="192215" y="220694"/>
                    <a:pt x="162496" y="220694"/>
                  </a:cubicBezTo>
                  <a:cubicBezTo>
                    <a:pt x="141351" y="220694"/>
                    <a:pt x="122492" y="222790"/>
                    <a:pt x="106013" y="227076"/>
                  </a:cubicBezTo>
                  <a:cubicBezTo>
                    <a:pt x="89535" y="231362"/>
                    <a:pt x="72771" y="236982"/>
                    <a:pt x="55817" y="244031"/>
                  </a:cubicBezTo>
                  <a:lnTo>
                    <a:pt x="32480" y="175451"/>
                  </a:lnTo>
                  <a:cubicBezTo>
                    <a:pt x="53150" y="166021"/>
                    <a:pt x="74390" y="158496"/>
                    <a:pt x="96107" y="152876"/>
                  </a:cubicBezTo>
                  <a:cubicBezTo>
                    <a:pt x="117729" y="147257"/>
                    <a:pt x="143923" y="144399"/>
                    <a:pt x="174593" y="144399"/>
                  </a:cubicBezTo>
                  <a:cubicBezTo>
                    <a:pt x="230124" y="144399"/>
                    <a:pt x="271367" y="158210"/>
                    <a:pt x="298228" y="185738"/>
                  </a:cubicBezTo>
                  <a:cubicBezTo>
                    <a:pt x="325088" y="213265"/>
                    <a:pt x="338519" y="252032"/>
                    <a:pt x="338519" y="301943"/>
                  </a:cubicBezTo>
                  <a:lnTo>
                    <a:pt x="338519" y="523113"/>
                  </a:lnTo>
                  <a:lnTo>
                    <a:pt x="253746" y="523113"/>
                  </a:lnTo>
                  <a:close/>
                  <a:moveTo>
                    <a:pt x="45911" y="95441"/>
                  </a:moveTo>
                  <a:cubicBezTo>
                    <a:pt x="53912" y="66675"/>
                    <a:pt x="63722" y="44768"/>
                    <a:pt x="75248" y="29718"/>
                  </a:cubicBezTo>
                  <a:cubicBezTo>
                    <a:pt x="86773" y="14669"/>
                    <a:pt x="103442" y="7144"/>
                    <a:pt x="125063" y="7144"/>
                  </a:cubicBezTo>
                  <a:cubicBezTo>
                    <a:pt x="134969" y="7144"/>
                    <a:pt x="144590" y="8668"/>
                    <a:pt x="154019" y="11716"/>
                  </a:cubicBezTo>
                  <a:cubicBezTo>
                    <a:pt x="163449" y="14764"/>
                    <a:pt x="172498" y="18098"/>
                    <a:pt x="181261" y="21622"/>
                  </a:cubicBezTo>
                  <a:cubicBezTo>
                    <a:pt x="189929" y="25146"/>
                    <a:pt x="198120" y="28385"/>
                    <a:pt x="205645" y="31147"/>
                  </a:cubicBezTo>
                  <a:cubicBezTo>
                    <a:pt x="213170" y="34004"/>
                    <a:pt x="220218" y="35338"/>
                    <a:pt x="226790" y="35338"/>
                  </a:cubicBezTo>
                  <a:cubicBezTo>
                    <a:pt x="237173" y="35338"/>
                    <a:pt x="244888" y="32480"/>
                    <a:pt x="250127" y="26861"/>
                  </a:cubicBezTo>
                  <a:cubicBezTo>
                    <a:pt x="255270" y="21241"/>
                    <a:pt x="260509" y="12287"/>
                    <a:pt x="265652" y="0"/>
                  </a:cubicBezTo>
                  <a:lnTo>
                    <a:pt x="312991" y="14859"/>
                  </a:lnTo>
                  <a:cubicBezTo>
                    <a:pt x="304991" y="43148"/>
                    <a:pt x="295180" y="64770"/>
                    <a:pt x="283655" y="79820"/>
                  </a:cubicBezTo>
                  <a:cubicBezTo>
                    <a:pt x="272129" y="94869"/>
                    <a:pt x="255461" y="102394"/>
                    <a:pt x="233839" y="102394"/>
                  </a:cubicBezTo>
                  <a:cubicBezTo>
                    <a:pt x="223933" y="102394"/>
                    <a:pt x="214313" y="100965"/>
                    <a:pt x="204883" y="98203"/>
                  </a:cubicBezTo>
                  <a:cubicBezTo>
                    <a:pt x="195453" y="95345"/>
                    <a:pt x="186404" y="92202"/>
                    <a:pt x="177641" y="88678"/>
                  </a:cubicBezTo>
                  <a:cubicBezTo>
                    <a:pt x="168878" y="85154"/>
                    <a:pt x="160687" y="81820"/>
                    <a:pt x="152876" y="78772"/>
                  </a:cubicBezTo>
                  <a:cubicBezTo>
                    <a:pt x="145066" y="75724"/>
                    <a:pt x="138113" y="74200"/>
                    <a:pt x="132017" y="74200"/>
                  </a:cubicBezTo>
                  <a:cubicBezTo>
                    <a:pt x="121634" y="74200"/>
                    <a:pt x="113919" y="77057"/>
                    <a:pt x="108680" y="82677"/>
                  </a:cubicBezTo>
                  <a:cubicBezTo>
                    <a:pt x="103537" y="88297"/>
                    <a:pt x="98298" y="97250"/>
                    <a:pt x="93154" y="109538"/>
                  </a:cubicBezTo>
                  <a:lnTo>
                    <a:pt x="45815" y="95441"/>
                  </a:lnTo>
                  <a:close/>
                  <a:moveTo>
                    <a:pt x="255842" y="366808"/>
                  </a:moveTo>
                  <a:cubicBezTo>
                    <a:pt x="244983" y="362522"/>
                    <a:pt x="232124" y="358997"/>
                    <a:pt x="217361" y="356235"/>
                  </a:cubicBezTo>
                  <a:cubicBezTo>
                    <a:pt x="202502" y="353378"/>
                    <a:pt x="186880" y="351949"/>
                    <a:pt x="170402" y="351949"/>
                  </a:cubicBezTo>
                  <a:cubicBezTo>
                    <a:pt x="143542" y="351949"/>
                    <a:pt x="122587" y="357092"/>
                    <a:pt x="107537" y="367475"/>
                  </a:cubicBezTo>
                  <a:cubicBezTo>
                    <a:pt x="92488" y="377857"/>
                    <a:pt x="84963" y="391954"/>
                    <a:pt x="84963" y="409861"/>
                  </a:cubicBezTo>
                  <a:lnTo>
                    <a:pt x="84963" y="411290"/>
                  </a:lnTo>
                  <a:cubicBezTo>
                    <a:pt x="84963" y="429197"/>
                    <a:pt x="91916" y="442817"/>
                    <a:pt x="105823" y="452247"/>
                  </a:cubicBezTo>
                  <a:cubicBezTo>
                    <a:pt x="119729" y="461677"/>
                    <a:pt x="136779" y="466344"/>
                    <a:pt x="157067" y="466344"/>
                  </a:cubicBezTo>
                  <a:cubicBezTo>
                    <a:pt x="171164" y="466344"/>
                    <a:pt x="184309" y="464439"/>
                    <a:pt x="196310" y="460724"/>
                  </a:cubicBezTo>
                  <a:cubicBezTo>
                    <a:pt x="208312" y="456914"/>
                    <a:pt x="218789" y="451676"/>
                    <a:pt x="227743" y="444818"/>
                  </a:cubicBezTo>
                  <a:cubicBezTo>
                    <a:pt x="236696" y="437960"/>
                    <a:pt x="243650" y="429768"/>
                    <a:pt x="248603" y="420053"/>
                  </a:cubicBezTo>
                  <a:cubicBezTo>
                    <a:pt x="253555" y="410432"/>
                    <a:pt x="256032" y="399669"/>
                    <a:pt x="256032" y="387858"/>
                  </a:cubicBezTo>
                  <a:lnTo>
                    <a:pt x="256032" y="366617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0276034C-FF58-79EE-1E56-0B9E74DE8D35}"/>
                </a:ext>
              </a:extLst>
            </p:cNvPr>
            <p:cNvSpPr/>
            <p:nvPr/>
          </p:nvSpPr>
          <p:spPr>
            <a:xfrm>
              <a:off x="6506477" y="699959"/>
              <a:ext cx="100038" cy="97908"/>
            </a:xfrm>
            <a:custGeom>
              <a:avLst/>
              <a:gdLst>
                <a:gd name="connsiteX0" fmla="*/ 197834 w 397954"/>
                <a:gd name="connsiteY0" fmla="*/ 389477 h 389477"/>
                <a:gd name="connsiteX1" fmla="*/ 119063 w 397954"/>
                <a:gd name="connsiteY1" fmla="*/ 374237 h 389477"/>
                <a:gd name="connsiteX2" fmla="*/ 56198 w 397954"/>
                <a:gd name="connsiteY2" fmla="*/ 332899 h 389477"/>
                <a:gd name="connsiteX3" fmla="*/ 14859 w 397954"/>
                <a:gd name="connsiteY3" fmla="*/ 271463 h 389477"/>
                <a:gd name="connsiteX4" fmla="*/ 0 w 397954"/>
                <a:gd name="connsiteY4" fmla="*/ 196501 h 389477"/>
                <a:gd name="connsiteX5" fmla="*/ 0 w 397954"/>
                <a:gd name="connsiteY5" fmla="*/ 195072 h 389477"/>
                <a:gd name="connsiteX6" fmla="*/ 15240 w 397954"/>
                <a:gd name="connsiteY6" fmla="*/ 119444 h 389477"/>
                <a:gd name="connsiteX7" fmla="*/ 56960 w 397954"/>
                <a:gd name="connsiteY7" fmla="*/ 57626 h 389477"/>
                <a:gd name="connsiteX8" fmla="*/ 119825 w 397954"/>
                <a:gd name="connsiteY8" fmla="*/ 15526 h 389477"/>
                <a:gd name="connsiteX9" fmla="*/ 199358 w 397954"/>
                <a:gd name="connsiteY9" fmla="*/ 0 h 389477"/>
                <a:gd name="connsiteX10" fmla="*/ 278892 w 397954"/>
                <a:gd name="connsiteY10" fmla="*/ 15240 h 389477"/>
                <a:gd name="connsiteX11" fmla="*/ 341757 w 397954"/>
                <a:gd name="connsiteY11" fmla="*/ 56959 h 389477"/>
                <a:gd name="connsiteX12" fmla="*/ 383096 w 397954"/>
                <a:gd name="connsiteY12" fmla="*/ 118396 h 389477"/>
                <a:gd name="connsiteX13" fmla="*/ 397955 w 397954"/>
                <a:gd name="connsiteY13" fmla="*/ 193643 h 389477"/>
                <a:gd name="connsiteX14" fmla="*/ 397955 w 397954"/>
                <a:gd name="connsiteY14" fmla="*/ 195072 h 389477"/>
                <a:gd name="connsiteX15" fmla="*/ 382714 w 397954"/>
                <a:gd name="connsiteY15" fmla="*/ 270034 h 389477"/>
                <a:gd name="connsiteX16" fmla="*/ 340995 w 397954"/>
                <a:gd name="connsiteY16" fmla="*/ 331851 h 389477"/>
                <a:gd name="connsiteX17" fmla="*/ 277749 w 397954"/>
                <a:gd name="connsiteY17" fmla="*/ 373856 h 389477"/>
                <a:gd name="connsiteX18" fmla="*/ 197834 w 397954"/>
                <a:gd name="connsiteY18" fmla="*/ 389382 h 389477"/>
                <a:gd name="connsiteX19" fmla="*/ 199263 w 397954"/>
                <a:gd name="connsiteY19" fmla="*/ 315278 h 389477"/>
                <a:gd name="connsiteX20" fmla="*/ 245936 w 397954"/>
                <a:gd name="connsiteY20" fmla="*/ 305753 h 389477"/>
                <a:gd name="connsiteX21" fmla="*/ 281369 w 397954"/>
                <a:gd name="connsiteY21" fmla="*/ 279940 h 389477"/>
                <a:gd name="connsiteX22" fmla="*/ 303848 w 397954"/>
                <a:gd name="connsiteY22" fmla="*/ 242125 h 389477"/>
                <a:gd name="connsiteX23" fmla="*/ 311563 w 397954"/>
                <a:gd name="connsiteY23" fmla="*/ 196501 h 389477"/>
                <a:gd name="connsiteX24" fmla="*/ 311563 w 397954"/>
                <a:gd name="connsiteY24" fmla="*/ 195072 h 389477"/>
                <a:gd name="connsiteX25" fmla="*/ 303181 w 397954"/>
                <a:gd name="connsiteY25" fmla="*/ 148400 h 389477"/>
                <a:gd name="connsiteX26" fmla="*/ 279654 w 397954"/>
                <a:gd name="connsiteY26" fmla="*/ 110204 h 389477"/>
                <a:gd name="connsiteX27" fmla="*/ 243840 w 397954"/>
                <a:gd name="connsiteY27" fmla="*/ 84392 h 389477"/>
                <a:gd name="connsiteX28" fmla="*/ 197834 w 397954"/>
                <a:gd name="connsiteY28" fmla="*/ 74867 h 389477"/>
                <a:gd name="connsiteX29" fmla="*/ 151829 w 397954"/>
                <a:gd name="connsiteY29" fmla="*/ 84392 h 389477"/>
                <a:gd name="connsiteX30" fmla="*/ 116396 w 397954"/>
                <a:gd name="connsiteY30" fmla="*/ 109823 h 389477"/>
                <a:gd name="connsiteX31" fmla="*/ 93916 w 397954"/>
                <a:gd name="connsiteY31" fmla="*/ 147638 h 389477"/>
                <a:gd name="connsiteX32" fmla="*/ 86201 w 397954"/>
                <a:gd name="connsiteY32" fmla="*/ 193548 h 389477"/>
                <a:gd name="connsiteX33" fmla="*/ 86201 w 397954"/>
                <a:gd name="connsiteY33" fmla="*/ 194977 h 389477"/>
                <a:gd name="connsiteX34" fmla="*/ 94583 w 397954"/>
                <a:gd name="connsiteY34" fmla="*/ 241268 h 389477"/>
                <a:gd name="connsiteX35" fmla="*/ 118110 w 397954"/>
                <a:gd name="connsiteY35" fmla="*/ 279463 h 389477"/>
                <a:gd name="connsiteX36" fmla="*/ 153924 w 397954"/>
                <a:gd name="connsiteY36" fmla="*/ 305562 h 389477"/>
                <a:gd name="connsiteX37" fmla="*/ 199263 w 397954"/>
                <a:gd name="connsiteY37" fmla="*/ 315087 h 38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7954" h="389477">
                  <a:moveTo>
                    <a:pt x="197834" y="389477"/>
                  </a:moveTo>
                  <a:cubicBezTo>
                    <a:pt x="169545" y="389477"/>
                    <a:pt x="143351" y="384429"/>
                    <a:pt x="119063" y="374237"/>
                  </a:cubicBezTo>
                  <a:cubicBezTo>
                    <a:pt x="94774" y="364141"/>
                    <a:pt x="73819" y="350330"/>
                    <a:pt x="56198" y="332899"/>
                  </a:cubicBezTo>
                  <a:cubicBezTo>
                    <a:pt x="38576" y="315468"/>
                    <a:pt x="24765" y="294989"/>
                    <a:pt x="14859" y="271463"/>
                  </a:cubicBezTo>
                  <a:cubicBezTo>
                    <a:pt x="4953" y="247936"/>
                    <a:pt x="0" y="222980"/>
                    <a:pt x="0" y="196501"/>
                  </a:cubicBezTo>
                  <a:lnTo>
                    <a:pt x="0" y="195072"/>
                  </a:lnTo>
                  <a:cubicBezTo>
                    <a:pt x="0" y="168212"/>
                    <a:pt x="5049" y="143066"/>
                    <a:pt x="15240" y="119444"/>
                  </a:cubicBezTo>
                  <a:cubicBezTo>
                    <a:pt x="25337" y="95917"/>
                    <a:pt x="39243" y="75248"/>
                    <a:pt x="56960" y="57626"/>
                  </a:cubicBezTo>
                  <a:cubicBezTo>
                    <a:pt x="74676" y="39910"/>
                    <a:pt x="95631" y="25908"/>
                    <a:pt x="119825" y="15526"/>
                  </a:cubicBezTo>
                  <a:cubicBezTo>
                    <a:pt x="144113" y="5144"/>
                    <a:pt x="170593" y="0"/>
                    <a:pt x="199358" y="0"/>
                  </a:cubicBezTo>
                  <a:cubicBezTo>
                    <a:pt x="228124" y="0"/>
                    <a:pt x="254604" y="5048"/>
                    <a:pt x="278892" y="15240"/>
                  </a:cubicBezTo>
                  <a:cubicBezTo>
                    <a:pt x="303181" y="25337"/>
                    <a:pt x="324136" y="39243"/>
                    <a:pt x="341757" y="56959"/>
                  </a:cubicBezTo>
                  <a:cubicBezTo>
                    <a:pt x="359379" y="74676"/>
                    <a:pt x="373189" y="95155"/>
                    <a:pt x="383096" y="118396"/>
                  </a:cubicBezTo>
                  <a:cubicBezTo>
                    <a:pt x="393002" y="141732"/>
                    <a:pt x="397955" y="166783"/>
                    <a:pt x="397955" y="193643"/>
                  </a:cubicBezTo>
                  <a:lnTo>
                    <a:pt x="397955" y="195072"/>
                  </a:lnTo>
                  <a:cubicBezTo>
                    <a:pt x="397955" y="221456"/>
                    <a:pt x="392906" y="246412"/>
                    <a:pt x="382714" y="270034"/>
                  </a:cubicBezTo>
                  <a:cubicBezTo>
                    <a:pt x="372618" y="293561"/>
                    <a:pt x="358712" y="314230"/>
                    <a:pt x="340995" y="331851"/>
                  </a:cubicBezTo>
                  <a:cubicBezTo>
                    <a:pt x="323279" y="349472"/>
                    <a:pt x="302229" y="363569"/>
                    <a:pt x="277749" y="373856"/>
                  </a:cubicBezTo>
                  <a:cubicBezTo>
                    <a:pt x="253270" y="384238"/>
                    <a:pt x="226600" y="389382"/>
                    <a:pt x="197834" y="389382"/>
                  </a:cubicBezTo>
                  <a:close/>
                  <a:moveTo>
                    <a:pt x="199263" y="315278"/>
                  </a:moveTo>
                  <a:cubicBezTo>
                    <a:pt x="216598" y="315278"/>
                    <a:pt x="232124" y="312039"/>
                    <a:pt x="245936" y="305753"/>
                  </a:cubicBezTo>
                  <a:cubicBezTo>
                    <a:pt x="259747" y="299371"/>
                    <a:pt x="271558" y="290798"/>
                    <a:pt x="281369" y="279940"/>
                  </a:cubicBezTo>
                  <a:cubicBezTo>
                    <a:pt x="291179" y="269081"/>
                    <a:pt x="298704" y="256508"/>
                    <a:pt x="303848" y="242125"/>
                  </a:cubicBezTo>
                  <a:cubicBezTo>
                    <a:pt x="308991" y="227743"/>
                    <a:pt x="311563" y="212598"/>
                    <a:pt x="311563" y="196501"/>
                  </a:cubicBezTo>
                  <a:lnTo>
                    <a:pt x="311563" y="195072"/>
                  </a:lnTo>
                  <a:cubicBezTo>
                    <a:pt x="311563" y="178594"/>
                    <a:pt x="308706" y="163068"/>
                    <a:pt x="303181" y="148400"/>
                  </a:cubicBezTo>
                  <a:cubicBezTo>
                    <a:pt x="297561" y="133826"/>
                    <a:pt x="289750" y="121063"/>
                    <a:pt x="279654" y="110204"/>
                  </a:cubicBezTo>
                  <a:cubicBezTo>
                    <a:pt x="269557" y="99346"/>
                    <a:pt x="257651" y="90773"/>
                    <a:pt x="243840" y="84392"/>
                  </a:cubicBezTo>
                  <a:cubicBezTo>
                    <a:pt x="230029" y="78010"/>
                    <a:pt x="214694" y="74867"/>
                    <a:pt x="197834" y="74867"/>
                  </a:cubicBezTo>
                  <a:cubicBezTo>
                    <a:pt x="180975" y="74867"/>
                    <a:pt x="165640" y="78010"/>
                    <a:pt x="151829" y="84392"/>
                  </a:cubicBezTo>
                  <a:cubicBezTo>
                    <a:pt x="138017" y="90773"/>
                    <a:pt x="126206" y="99250"/>
                    <a:pt x="116396" y="109823"/>
                  </a:cubicBezTo>
                  <a:cubicBezTo>
                    <a:pt x="106585" y="120396"/>
                    <a:pt x="99060" y="133064"/>
                    <a:pt x="93916" y="147638"/>
                  </a:cubicBezTo>
                  <a:cubicBezTo>
                    <a:pt x="88773" y="162211"/>
                    <a:pt x="86201" y="177546"/>
                    <a:pt x="86201" y="193548"/>
                  </a:cubicBezTo>
                  <a:lnTo>
                    <a:pt x="86201" y="194977"/>
                  </a:lnTo>
                  <a:cubicBezTo>
                    <a:pt x="86201" y="211455"/>
                    <a:pt x="89059" y="226886"/>
                    <a:pt x="94583" y="241268"/>
                  </a:cubicBezTo>
                  <a:cubicBezTo>
                    <a:pt x="100203" y="255651"/>
                    <a:pt x="108014" y="268319"/>
                    <a:pt x="118110" y="279463"/>
                  </a:cubicBezTo>
                  <a:cubicBezTo>
                    <a:pt x="128207" y="290608"/>
                    <a:pt x="140113" y="299275"/>
                    <a:pt x="153924" y="305562"/>
                  </a:cubicBezTo>
                  <a:cubicBezTo>
                    <a:pt x="167735" y="311944"/>
                    <a:pt x="182785" y="315087"/>
                    <a:pt x="199263" y="315087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51E2703C-BCF8-366C-EC06-24B5A56395DE}"/>
                </a:ext>
              </a:extLst>
            </p:cNvPr>
            <p:cNvSpPr/>
            <p:nvPr/>
          </p:nvSpPr>
          <p:spPr>
            <a:xfrm>
              <a:off x="6620714" y="700318"/>
              <a:ext cx="74634" cy="97213"/>
            </a:xfrm>
            <a:custGeom>
              <a:avLst/>
              <a:gdLst>
                <a:gd name="connsiteX0" fmla="*/ 158305 w 296894"/>
                <a:gd name="connsiteY0" fmla="*/ 386715 h 386714"/>
                <a:gd name="connsiteX1" fmla="*/ 76676 w 296894"/>
                <a:gd name="connsiteY1" fmla="*/ 372427 h 386714"/>
                <a:gd name="connsiteX2" fmla="*/ 0 w 296894"/>
                <a:gd name="connsiteY2" fmla="*/ 330327 h 386714"/>
                <a:gd name="connsiteX3" fmla="*/ 38195 w 296894"/>
                <a:gd name="connsiteY3" fmla="*/ 272224 h 386714"/>
                <a:gd name="connsiteX4" fmla="*/ 100013 w 296894"/>
                <a:gd name="connsiteY4" fmla="*/ 306514 h 386714"/>
                <a:gd name="connsiteX5" fmla="*/ 160401 w 296894"/>
                <a:gd name="connsiteY5" fmla="*/ 318135 h 386714"/>
                <a:gd name="connsiteX6" fmla="*/ 203168 w 296894"/>
                <a:gd name="connsiteY6" fmla="*/ 307181 h 386714"/>
                <a:gd name="connsiteX7" fmla="*/ 218408 w 296894"/>
                <a:gd name="connsiteY7" fmla="*/ 277939 h 386714"/>
                <a:gd name="connsiteX8" fmla="*/ 218408 w 296894"/>
                <a:gd name="connsiteY8" fmla="*/ 276511 h 386714"/>
                <a:gd name="connsiteX9" fmla="*/ 211645 w 296894"/>
                <a:gd name="connsiteY9" fmla="*/ 258223 h 386714"/>
                <a:gd name="connsiteX10" fmla="*/ 193262 w 296894"/>
                <a:gd name="connsiteY10" fmla="*/ 244792 h 386714"/>
                <a:gd name="connsiteX11" fmla="*/ 166401 w 296894"/>
                <a:gd name="connsiteY11" fmla="*/ 234220 h 386714"/>
                <a:gd name="connsiteX12" fmla="*/ 134969 w 296894"/>
                <a:gd name="connsiteY12" fmla="*/ 224314 h 386714"/>
                <a:gd name="connsiteX13" fmla="*/ 93631 w 296894"/>
                <a:gd name="connsiteY13" fmla="*/ 210884 h 386714"/>
                <a:gd name="connsiteX14" fmla="*/ 56197 w 296894"/>
                <a:gd name="connsiteY14" fmla="*/ 190786 h 386714"/>
                <a:gd name="connsiteX15" fmla="*/ 28956 w 296894"/>
                <a:gd name="connsiteY15" fmla="*/ 160115 h 386714"/>
                <a:gd name="connsiteX16" fmla="*/ 18383 w 296894"/>
                <a:gd name="connsiteY16" fmla="*/ 114967 h 386714"/>
                <a:gd name="connsiteX17" fmla="*/ 18383 w 296894"/>
                <a:gd name="connsiteY17" fmla="*/ 113538 h 386714"/>
                <a:gd name="connsiteX18" fmla="*/ 28575 w 296894"/>
                <a:gd name="connsiteY18" fmla="*/ 66294 h 386714"/>
                <a:gd name="connsiteX19" fmla="*/ 56864 w 296894"/>
                <a:gd name="connsiteY19" fmla="*/ 30385 h 386714"/>
                <a:gd name="connsiteX20" fmla="*/ 99250 w 296894"/>
                <a:gd name="connsiteY20" fmla="*/ 7810 h 386714"/>
                <a:gd name="connsiteX21" fmla="*/ 151162 w 296894"/>
                <a:gd name="connsiteY21" fmla="*/ 0 h 386714"/>
                <a:gd name="connsiteX22" fmla="*/ 222504 w 296894"/>
                <a:gd name="connsiteY22" fmla="*/ 11430 h 386714"/>
                <a:gd name="connsiteX23" fmla="*/ 288227 w 296894"/>
                <a:gd name="connsiteY23" fmla="*/ 42863 h 386714"/>
                <a:gd name="connsiteX24" fmla="*/ 254318 w 296894"/>
                <a:gd name="connsiteY24" fmla="*/ 103918 h 386714"/>
                <a:gd name="connsiteX25" fmla="*/ 199930 w 296894"/>
                <a:gd name="connsiteY25" fmla="*/ 78105 h 386714"/>
                <a:gd name="connsiteX26" fmla="*/ 149066 w 296894"/>
                <a:gd name="connsiteY26" fmla="*/ 68580 h 386714"/>
                <a:gd name="connsiteX27" fmla="*/ 110585 w 296894"/>
                <a:gd name="connsiteY27" fmla="*/ 79153 h 386714"/>
                <a:gd name="connsiteX28" fmla="*/ 96869 w 296894"/>
                <a:gd name="connsiteY28" fmla="*/ 105918 h 386714"/>
                <a:gd name="connsiteX29" fmla="*/ 96869 w 296894"/>
                <a:gd name="connsiteY29" fmla="*/ 107347 h 386714"/>
                <a:gd name="connsiteX30" fmla="*/ 103917 w 296894"/>
                <a:gd name="connsiteY30" fmla="*/ 124587 h 386714"/>
                <a:gd name="connsiteX31" fmla="*/ 122682 w 296894"/>
                <a:gd name="connsiteY31" fmla="*/ 138017 h 386714"/>
                <a:gd name="connsiteX32" fmla="*/ 149543 w 296894"/>
                <a:gd name="connsiteY32" fmla="*/ 149257 h 386714"/>
                <a:gd name="connsiteX33" fmla="*/ 180975 w 296894"/>
                <a:gd name="connsiteY33" fmla="*/ 159448 h 386714"/>
                <a:gd name="connsiteX34" fmla="*/ 222028 w 296894"/>
                <a:gd name="connsiteY34" fmla="*/ 174212 h 386714"/>
                <a:gd name="connsiteX35" fmla="*/ 259080 w 296894"/>
                <a:gd name="connsiteY35" fmla="*/ 194977 h 386714"/>
                <a:gd name="connsiteX36" fmla="*/ 286321 w 296894"/>
                <a:gd name="connsiteY36" fmla="*/ 224980 h 386714"/>
                <a:gd name="connsiteX37" fmla="*/ 296894 w 296894"/>
                <a:gd name="connsiteY37" fmla="*/ 267938 h 386714"/>
                <a:gd name="connsiteX38" fmla="*/ 296894 w 296894"/>
                <a:gd name="connsiteY38" fmla="*/ 269367 h 386714"/>
                <a:gd name="connsiteX39" fmla="*/ 286321 w 296894"/>
                <a:gd name="connsiteY39" fmla="*/ 320897 h 386714"/>
                <a:gd name="connsiteX40" fmla="*/ 256984 w 296894"/>
                <a:gd name="connsiteY40" fmla="*/ 357188 h 386714"/>
                <a:gd name="connsiteX41" fmla="*/ 212788 w 296894"/>
                <a:gd name="connsiteY41" fmla="*/ 379095 h 386714"/>
                <a:gd name="connsiteX42" fmla="*/ 158401 w 296894"/>
                <a:gd name="connsiteY42" fmla="*/ 386524 h 3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4" h="386714">
                  <a:moveTo>
                    <a:pt x="158305" y="386715"/>
                  </a:moveTo>
                  <a:cubicBezTo>
                    <a:pt x="131445" y="386715"/>
                    <a:pt x="104204" y="381952"/>
                    <a:pt x="76676" y="372427"/>
                  </a:cubicBezTo>
                  <a:cubicBezTo>
                    <a:pt x="49149" y="362902"/>
                    <a:pt x="23526" y="348901"/>
                    <a:pt x="0" y="330327"/>
                  </a:cubicBezTo>
                  <a:lnTo>
                    <a:pt x="38195" y="272224"/>
                  </a:lnTo>
                  <a:cubicBezTo>
                    <a:pt x="58484" y="287274"/>
                    <a:pt x="79057" y="298704"/>
                    <a:pt x="100013" y="306514"/>
                  </a:cubicBezTo>
                  <a:cubicBezTo>
                    <a:pt x="120968" y="314325"/>
                    <a:pt x="141161" y="318135"/>
                    <a:pt x="160401" y="318135"/>
                  </a:cubicBezTo>
                  <a:cubicBezTo>
                    <a:pt x="179641" y="318135"/>
                    <a:pt x="192977" y="314515"/>
                    <a:pt x="203168" y="307181"/>
                  </a:cubicBezTo>
                  <a:cubicBezTo>
                    <a:pt x="213265" y="299847"/>
                    <a:pt x="218408" y="290131"/>
                    <a:pt x="218408" y="277939"/>
                  </a:cubicBezTo>
                  <a:lnTo>
                    <a:pt x="218408" y="276511"/>
                  </a:lnTo>
                  <a:cubicBezTo>
                    <a:pt x="218408" y="269462"/>
                    <a:pt x="216122" y="263366"/>
                    <a:pt x="211645" y="258223"/>
                  </a:cubicBezTo>
                  <a:cubicBezTo>
                    <a:pt x="207169" y="253079"/>
                    <a:pt x="201073" y="248602"/>
                    <a:pt x="193262" y="244792"/>
                  </a:cubicBezTo>
                  <a:cubicBezTo>
                    <a:pt x="185451" y="241078"/>
                    <a:pt x="176498" y="237553"/>
                    <a:pt x="166401" y="234220"/>
                  </a:cubicBezTo>
                  <a:cubicBezTo>
                    <a:pt x="156305" y="230886"/>
                    <a:pt x="145732" y="227647"/>
                    <a:pt x="134969" y="224314"/>
                  </a:cubicBezTo>
                  <a:cubicBezTo>
                    <a:pt x="121253" y="220599"/>
                    <a:pt x="107537" y="216122"/>
                    <a:pt x="93631" y="210884"/>
                  </a:cubicBezTo>
                  <a:cubicBezTo>
                    <a:pt x="79724" y="205740"/>
                    <a:pt x="67246" y="198977"/>
                    <a:pt x="56197" y="190786"/>
                  </a:cubicBezTo>
                  <a:cubicBezTo>
                    <a:pt x="45148" y="182594"/>
                    <a:pt x="36100" y="172307"/>
                    <a:pt x="28956" y="160115"/>
                  </a:cubicBezTo>
                  <a:cubicBezTo>
                    <a:pt x="21907" y="147923"/>
                    <a:pt x="18383" y="132874"/>
                    <a:pt x="18383" y="114967"/>
                  </a:cubicBezTo>
                  <a:lnTo>
                    <a:pt x="18383" y="113538"/>
                  </a:lnTo>
                  <a:cubicBezTo>
                    <a:pt x="18383" y="96107"/>
                    <a:pt x="21812" y="80391"/>
                    <a:pt x="28575" y="66294"/>
                  </a:cubicBezTo>
                  <a:cubicBezTo>
                    <a:pt x="35433" y="52197"/>
                    <a:pt x="44862" y="40195"/>
                    <a:pt x="56864" y="30385"/>
                  </a:cubicBezTo>
                  <a:cubicBezTo>
                    <a:pt x="68866" y="20479"/>
                    <a:pt x="82962" y="12954"/>
                    <a:pt x="99250" y="7810"/>
                  </a:cubicBezTo>
                  <a:cubicBezTo>
                    <a:pt x="115538" y="2667"/>
                    <a:pt x="132779" y="0"/>
                    <a:pt x="151162" y="0"/>
                  </a:cubicBezTo>
                  <a:cubicBezTo>
                    <a:pt x="174688" y="0"/>
                    <a:pt x="198501" y="3810"/>
                    <a:pt x="222504" y="11430"/>
                  </a:cubicBezTo>
                  <a:cubicBezTo>
                    <a:pt x="246507" y="19050"/>
                    <a:pt x="268414" y="29527"/>
                    <a:pt x="288227" y="42863"/>
                  </a:cubicBezTo>
                  <a:lnTo>
                    <a:pt x="254318" y="103918"/>
                  </a:lnTo>
                  <a:cubicBezTo>
                    <a:pt x="236411" y="93059"/>
                    <a:pt x="218313" y="84487"/>
                    <a:pt x="199930" y="78105"/>
                  </a:cubicBezTo>
                  <a:cubicBezTo>
                    <a:pt x="181546" y="71723"/>
                    <a:pt x="164592" y="68580"/>
                    <a:pt x="149066" y="68580"/>
                  </a:cubicBezTo>
                  <a:cubicBezTo>
                    <a:pt x="132588" y="68580"/>
                    <a:pt x="119729" y="72104"/>
                    <a:pt x="110585" y="79153"/>
                  </a:cubicBezTo>
                  <a:cubicBezTo>
                    <a:pt x="101441" y="86201"/>
                    <a:pt x="96869" y="95155"/>
                    <a:pt x="96869" y="105918"/>
                  </a:cubicBezTo>
                  <a:lnTo>
                    <a:pt x="96869" y="107347"/>
                  </a:lnTo>
                  <a:cubicBezTo>
                    <a:pt x="96869" y="113919"/>
                    <a:pt x="99250" y="119634"/>
                    <a:pt x="103917" y="124587"/>
                  </a:cubicBezTo>
                  <a:cubicBezTo>
                    <a:pt x="108585" y="129540"/>
                    <a:pt x="114871" y="134017"/>
                    <a:pt x="122682" y="138017"/>
                  </a:cubicBezTo>
                  <a:cubicBezTo>
                    <a:pt x="130493" y="142018"/>
                    <a:pt x="139351" y="145732"/>
                    <a:pt x="149543" y="149257"/>
                  </a:cubicBezTo>
                  <a:cubicBezTo>
                    <a:pt x="159639" y="152781"/>
                    <a:pt x="170116" y="156210"/>
                    <a:pt x="180975" y="159448"/>
                  </a:cubicBezTo>
                  <a:cubicBezTo>
                    <a:pt x="194596" y="163639"/>
                    <a:pt x="208312" y="168592"/>
                    <a:pt x="222028" y="174212"/>
                  </a:cubicBezTo>
                  <a:cubicBezTo>
                    <a:pt x="235648" y="179832"/>
                    <a:pt x="248031" y="186785"/>
                    <a:pt x="259080" y="194977"/>
                  </a:cubicBezTo>
                  <a:cubicBezTo>
                    <a:pt x="270129" y="203168"/>
                    <a:pt x="279273" y="213169"/>
                    <a:pt x="286321" y="224980"/>
                  </a:cubicBezTo>
                  <a:cubicBezTo>
                    <a:pt x="293370" y="236696"/>
                    <a:pt x="296894" y="251079"/>
                    <a:pt x="296894" y="267938"/>
                  </a:cubicBezTo>
                  <a:lnTo>
                    <a:pt x="296894" y="269367"/>
                  </a:lnTo>
                  <a:cubicBezTo>
                    <a:pt x="296894" y="289084"/>
                    <a:pt x="293370" y="306229"/>
                    <a:pt x="286321" y="320897"/>
                  </a:cubicBezTo>
                  <a:cubicBezTo>
                    <a:pt x="279273" y="335470"/>
                    <a:pt x="269462" y="347567"/>
                    <a:pt x="256984" y="357188"/>
                  </a:cubicBezTo>
                  <a:cubicBezTo>
                    <a:pt x="244507" y="366808"/>
                    <a:pt x="229743" y="374142"/>
                    <a:pt x="212788" y="379095"/>
                  </a:cubicBezTo>
                  <a:cubicBezTo>
                    <a:pt x="195834" y="384048"/>
                    <a:pt x="177641" y="386524"/>
                    <a:pt x="158401" y="3865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BCB02664-82BD-12F5-319E-122A8296B6C7}"/>
                </a:ext>
              </a:extLst>
            </p:cNvPr>
            <p:cNvSpPr/>
            <p:nvPr/>
          </p:nvSpPr>
          <p:spPr>
            <a:xfrm>
              <a:off x="526693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4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80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5 w 202977"/>
                <a:gd name="connsiteY27" fmla="*/ 211169 h 239267"/>
                <a:gd name="connsiteX28" fmla="*/ 122968 w 202977"/>
                <a:gd name="connsiteY28" fmla="*/ 206788 h 239267"/>
                <a:gd name="connsiteX29" fmla="*/ 147257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9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9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3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6" y="36862"/>
                    <a:pt x="122492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9" y="43053"/>
                    <a:pt x="30671" y="48196"/>
                  </a:cubicBezTo>
                  <a:lnTo>
                    <a:pt x="20384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80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5" y="211169"/>
                  </a:moveTo>
                  <a:cubicBezTo>
                    <a:pt x="103823" y="211169"/>
                    <a:pt x="113728" y="209740"/>
                    <a:pt x="122968" y="206788"/>
                  </a:cubicBezTo>
                  <a:cubicBezTo>
                    <a:pt x="132207" y="203835"/>
                    <a:pt x="140208" y="199644"/>
                    <a:pt x="147257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9" y="121444"/>
                  </a:cubicBezTo>
                  <a:cubicBezTo>
                    <a:pt x="129445" y="119348"/>
                    <a:pt x="116776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244" y="190500"/>
                    <a:pt x="47435" y="195358"/>
                    <a:pt x="52769" y="199263"/>
                  </a:cubicBezTo>
                  <a:cubicBezTo>
                    <a:pt x="58103" y="203073"/>
                    <a:pt x="64294" y="206026"/>
                    <a:pt x="71247" y="208121"/>
                  </a:cubicBezTo>
                  <a:cubicBezTo>
                    <a:pt x="78200" y="210217"/>
                    <a:pt x="85535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4ADDF72B-5502-3AC5-98FB-7FFA846812EA}"/>
                </a:ext>
              </a:extLst>
            </p:cNvPr>
            <p:cNvSpPr/>
            <p:nvPr/>
          </p:nvSpPr>
          <p:spPr>
            <a:xfrm>
              <a:off x="5331227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9" y="303276"/>
                    <a:pt x="71438" y="300895"/>
                  </a:cubicBezTo>
                  <a:cubicBezTo>
                    <a:pt x="63437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2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60BF871B-6CBF-FCCB-65A7-B104D50A75E8}"/>
                </a:ext>
              </a:extLst>
            </p:cNvPr>
            <p:cNvSpPr/>
            <p:nvPr/>
          </p:nvSpPr>
          <p:spPr>
            <a:xfrm>
              <a:off x="5381845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191 w 39242"/>
                <a:gd name="connsiteY5" fmla="*/ 88392 h 319182"/>
                <a:gd name="connsiteX6" fmla="*/ 36576 w 39242"/>
                <a:gd name="connsiteY6" fmla="*/ 88392 h 319182"/>
                <a:gd name="connsiteX7" fmla="*/ 36576 w 39242"/>
                <a:gd name="connsiteY7" fmla="*/ 319183 h 319182"/>
                <a:gd name="connsiteX8" fmla="*/ 2191 w 39242"/>
                <a:gd name="connsiteY8" fmla="*/ 319183 h 319182"/>
                <a:gd name="connsiteX9" fmla="*/ 2191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191" y="88392"/>
                  </a:moveTo>
                  <a:lnTo>
                    <a:pt x="36576" y="88392"/>
                  </a:lnTo>
                  <a:lnTo>
                    <a:pt x="36576" y="319183"/>
                  </a:lnTo>
                  <a:lnTo>
                    <a:pt x="2191" y="319183"/>
                  </a:lnTo>
                  <a:lnTo>
                    <a:pt x="2191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AAF46658-0C91-85B7-71E3-C603C10E4A0B}"/>
                </a:ext>
              </a:extLst>
            </p:cNvPr>
            <p:cNvSpPr/>
            <p:nvPr/>
          </p:nvSpPr>
          <p:spPr>
            <a:xfrm>
              <a:off x="5406076" y="907746"/>
              <a:ext cx="35126" cy="76549"/>
            </a:xfrm>
            <a:custGeom>
              <a:avLst/>
              <a:gdLst>
                <a:gd name="connsiteX0" fmla="*/ 97345 w 139731"/>
                <a:gd name="connsiteY0" fmla="*/ 304514 h 304514"/>
                <a:gd name="connsiteX1" fmla="*/ 71438 w 139731"/>
                <a:gd name="connsiteY1" fmla="*/ 300895 h 304514"/>
                <a:gd name="connsiteX2" fmla="*/ 50673 w 139731"/>
                <a:gd name="connsiteY2" fmla="*/ 289465 h 304514"/>
                <a:gd name="connsiteX3" fmla="*/ 37052 w 139731"/>
                <a:gd name="connsiteY3" fmla="*/ 269177 h 304514"/>
                <a:gd name="connsiteX4" fmla="*/ 32099 w 139731"/>
                <a:gd name="connsiteY4" fmla="*/ 239268 h 304514"/>
                <a:gd name="connsiteX5" fmla="*/ 32099 w 139731"/>
                <a:gd name="connsiteY5" fmla="*/ 100013 h 304514"/>
                <a:gd name="connsiteX6" fmla="*/ 0 w 139731"/>
                <a:gd name="connsiteY6" fmla="*/ 100013 h 304514"/>
                <a:gd name="connsiteX7" fmla="*/ 0 w 139731"/>
                <a:gd name="connsiteY7" fmla="*/ 69628 h 304514"/>
                <a:gd name="connsiteX8" fmla="*/ 32099 w 139731"/>
                <a:gd name="connsiteY8" fmla="*/ 69628 h 304514"/>
                <a:gd name="connsiteX9" fmla="*/ 32099 w 139731"/>
                <a:gd name="connsiteY9" fmla="*/ 0 h 304514"/>
                <a:gd name="connsiteX10" fmla="*/ 66484 w 139731"/>
                <a:gd name="connsiteY10" fmla="*/ 0 h 304514"/>
                <a:gd name="connsiteX11" fmla="*/ 66484 w 139731"/>
                <a:gd name="connsiteY11" fmla="*/ 69628 h 304514"/>
                <a:gd name="connsiteX12" fmla="*/ 139732 w 139731"/>
                <a:gd name="connsiteY12" fmla="*/ 69628 h 304514"/>
                <a:gd name="connsiteX13" fmla="*/ 139732 w 139731"/>
                <a:gd name="connsiteY13" fmla="*/ 100013 h 304514"/>
                <a:gd name="connsiteX14" fmla="*/ 66484 w 139731"/>
                <a:gd name="connsiteY14" fmla="*/ 100013 h 304514"/>
                <a:gd name="connsiteX15" fmla="*/ 66484 w 139731"/>
                <a:gd name="connsiteY15" fmla="*/ 234410 h 304514"/>
                <a:gd name="connsiteX16" fmla="*/ 77248 w 139731"/>
                <a:gd name="connsiteY16" fmla="*/ 264223 h 304514"/>
                <a:gd name="connsiteX17" fmla="*/ 105346 w 139731"/>
                <a:gd name="connsiteY17" fmla="*/ 272701 h 304514"/>
                <a:gd name="connsiteX18" fmla="*/ 122111 w 139731"/>
                <a:gd name="connsiteY18" fmla="*/ 270986 h 304514"/>
                <a:gd name="connsiteX19" fmla="*/ 138874 w 139731"/>
                <a:gd name="connsiteY19" fmla="*/ 265081 h 304514"/>
                <a:gd name="connsiteX20" fmla="*/ 138874 w 139731"/>
                <a:gd name="connsiteY20" fmla="*/ 294513 h 304514"/>
                <a:gd name="connsiteX21" fmla="*/ 119920 w 139731"/>
                <a:gd name="connsiteY21" fmla="*/ 301847 h 304514"/>
                <a:gd name="connsiteX22" fmla="*/ 97345 w 139731"/>
                <a:gd name="connsiteY22" fmla="*/ 304324 h 3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731" h="304514">
                  <a:moveTo>
                    <a:pt x="97345" y="304514"/>
                  </a:moveTo>
                  <a:cubicBezTo>
                    <a:pt x="88106" y="304514"/>
                    <a:pt x="79438" y="303276"/>
                    <a:pt x="71438" y="300895"/>
                  </a:cubicBezTo>
                  <a:cubicBezTo>
                    <a:pt x="63436" y="298513"/>
                    <a:pt x="56483" y="294704"/>
                    <a:pt x="50673" y="289465"/>
                  </a:cubicBezTo>
                  <a:cubicBezTo>
                    <a:pt x="44863" y="284226"/>
                    <a:pt x="40291" y="277463"/>
                    <a:pt x="37052" y="269177"/>
                  </a:cubicBezTo>
                  <a:cubicBezTo>
                    <a:pt x="33814" y="260890"/>
                    <a:pt x="32099" y="250888"/>
                    <a:pt x="32099" y="239268"/>
                  </a:cubicBezTo>
                  <a:lnTo>
                    <a:pt x="32099" y="100013"/>
                  </a:lnTo>
                  <a:lnTo>
                    <a:pt x="0" y="100013"/>
                  </a:lnTo>
                  <a:lnTo>
                    <a:pt x="0" y="69628"/>
                  </a:lnTo>
                  <a:lnTo>
                    <a:pt x="32099" y="69628"/>
                  </a:lnTo>
                  <a:lnTo>
                    <a:pt x="32099" y="0"/>
                  </a:lnTo>
                  <a:lnTo>
                    <a:pt x="66484" y="0"/>
                  </a:lnTo>
                  <a:lnTo>
                    <a:pt x="66484" y="69628"/>
                  </a:lnTo>
                  <a:lnTo>
                    <a:pt x="139732" y="69628"/>
                  </a:lnTo>
                  <a:lnTo>
                    <a:pt x="139732" y="100013"/>
                  </a:lnTo>
                  <a:lnTo>
                    <a:pt x="66484" y="100013"/>
                  </a:lnTo>
                  <a:lnTo>
                    <a:pt x="66484" y="234410"/>
                  </a:lnTo>
                  <a:cubicBezTo>
                    <a:pt x="66484" y="248603"/>
                    <a:pt x="70104" y="258604"/>
                    <a:pt x="77248" y="264223"/>
                  </a:cubicBezTo>
                  <a:cubicBezTo>
                    <a:pt x="84391" y="269843"/>
                    <a:pt x="93726" y="272701"/>
                    <a:pt x="105346" y="272701"/>
                  </a:cubicBezTo>
                  <a:cubicBezTo>
                    <a:pt x="111252" y="272701"/>
                    <a:pt x="116872" y="272129"/>
                    <a:pt x="122111" y="270986"/>
                  </a:cubicBezTo>
                  <a:cubicBezTo>
                    <a:pt x="127349" y="269843"/>
                    <a:pt x="132874" y="267938"/>
                    <a:pt x="138874" y="265081"/>
                  </a:cubicBezTo>
                  <a:lnTo>
                    <a:pt x="138874" y="294513"/>
                  </a:lnTo>
                  <a:cubicBezTo>
                    <a:pt x="132874" y="297847"/>
                    <a:pt x="126587" y="300228"/>
                    <a:pt x="119920" y="301847"/>
                  </a:cubicBezTo>
                  <a:cubicBezTo>
                    <a:pt x="113252" y="303467"/>
                    <a:pt x="105727" y="304324"/>
                    <a:pt x="97345" y="304324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4" name="Freeform: Shape 36">
              <a:extLst>
                <a:ext uri="{FF2B5EF4-FFF2-40B4-BE49-F238E27FC236}">
                  <a16:creationId xmlns:a16="http://schemas.microsoft.com/office/drawing/2014/main" id="{183F133C-0460-7D9C-6C6D-A9F83327F70E}"/>
                </a:ext>
              </a:extLst>
            </p:cNvPr>
            <p:cNvSpPr/>
            <p:nvPr/>
          </p:nvSpPr>
          <p:spPr>
            <a:xfrm>
              <a:off x="5455545" y="925297"/>
              <a:ext cx="50594" cy="59238"/>
            </a:xfrm>
            <a:custGeom>
              <a:avLst/>
              <a:gdLst>
                <a:gd name="connsiteX0" fmla="*/ 88392 w 201263"/>
                <a:gd name="connsiteY0" fmla="*/ 235648 h 235648"/>
                <a:gd name="connsiteX1" fmla="*/ 51149 w 201263"/>
                <a:gd name="connsiteY1" fmla="*/ 228981 h 235648"/>
                <a:gd name="connsiteX2" fmla="*/ 23431 w 201263"/>
                <a:gd name="connsiteY2" fmla="*/ 210026 h 235648"/>
                <a:gd name="connsiteX3" fmla="*/ 6001 w 201263"/>
                <a:gd name="connsiteY3" fmla="*/ 180784 h 235648"/>
                <a:gd name="connsiteX4" fmla="*/ 0 w 201263"/>
                <a:gd name="connsiteY4" fmla="*/ 143256 h 235648"/>
                <a:gd name="connsiteX5" fmla="*/ 0 w 201263"/>
                <a:gd name="connsiteY5" fmla="*/ 0 h 235648"/>
                <a:gd name="connsiteX6" fmla="*/ 34385 w 201263"/>
                <a:gd name="connsiteY6" fmla="*/ 0 h 235648"/>
                <a:gd name="connsiteX7" fmla="*/ 34385 w 201263"/>
                <a:gd name="connsiteY7" fmla="*/ 134493 h 235648"/>
                <a:gd name="connsiteX8" fmla="*/ 50864 w 201263"/>
                <a:gd name="connsiteY8" fmla="*/ 185261 h 235648"/>
                <a:gd name="connsiteX9" fmla="*/ 98203 w 201263"/>
                <a:gd name="connsiteY9" fmla="*/ 203930 h 235648"/>
                <a:gd name="connsiteX10" fmla="*/ 125635 w 201263"/>
                <a:gd name="connsiteY10" fmla="*/ 198787 h 235648"/>
                <a:gd name="connsiteX11" fmla="*/ 147542 w 201263"/>
                <a:gd name="connsiteY11" fmla="*/ 184118 h 235648"/>
                <a:gd name="connsiteX12" fmla="*/ 162020 w 201263"/>
                <a:gd name="connsiteY12" fmla="*/ 161163 h 235648"/>
                <a:gd name="connsiteX13" fmla="*/ 167354 w 201263"/>
                <a:gd name="connsiteY13" fmla="*/ 131826 h 235648"/>
                <a:gd name="connsiteX14" fmla="*/ 167354 w 201263"/>
                <a:gd name="connsiteY14" fmla="*/ 0 h 235648"/>
                <a:gd name="connsiteX15" fmla="*/ 201263 w 201263"/>
                <a:gd name="connsiteY15" fmla="*/ 0 h 235648"/>
                <a:gd name="connsiteX16" fmla="*/ 201263 w 201263"/>
                <a:gd name="connsiteY16" fmla="*/ 230791 h 235648"/>
                <a:gd name="connsiteX17" fmla="*/ 167354 w 201263"/>
                <a:gd name="connsiteY17" fmla="*/ 230791 h 235648"/>
                <a:gd name="connsiteX18" fmla="*/ 167354 w 201263"/>
                <a:gd name="connsiteY18" fmla="*/ 190595 h 235648"/>
                <a:gd name="connsiteX19" fmla="*/ 136969 w 201263"/>
                <a:gd name="connsiteY19" fmla="*/ 222504 h 235648"/>
                <a:gd name="connsiteX20" fmla="*/ 88297 w 201263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263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1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864" y="185261"/>
                  </a:cubicBezTo>
                  <a:cubicBezTo>
                    <a:pt x="61913" y="197739"/>
                    <a:pt x="77629" y="203930"/>
                    <a:pt x="98203" y="203930"/>
                  </a:cubicBezTo>
                  <a:cubicBezTo>
                    <a:pt x="108014" y="203930"/>
                    <a:pt x="117158" y="202216"/>
                    <a:pt x="125635" y="198787"/>
                  </a:cubicBezTo>
                  <a:cubicBezTo>
                    <a:pt x="134112" y="195358"/>
                    <a:pt x="141351" y="190500"/>
                    <a:pt x="147542" y="184118"/>
                  </a:cubicBezTo>
                  <a:cubicBezTo>
                    <a:pt x="153638" y="177736"/>
                    <a:pt x="158496" y="170116"/>
                    <a:pt x="162020" y="161163"/>
                  </a:cubicBezTo>
                  <a:cubicBezTo>
                    <a:pt x="165640" y="152305"/>
                    <a:pt x="167354" y="142494"/>
                    <a:pt x="167354" y="131826"/>
                  </a:cubicBezTo>
                  <a:lnTo>
                    <a:pt x="167354" y="0"/>
                  </a:lnTo>
                  <a:lnTo>
                    <a:pt x="201263" y="0"/>
                  </a:lnTo>
                  <a:lnTo>
                    <a:pt x="201263" y="230791"/>
                  </a:lnTo>
                  <a:lnTo>
                    <a:pt x="167354" y="230791"/>
                  </a:lnTo>
                  <a:lnTo>
                    <a:pt x="167354" y="190595"/>
                  </a:lnTo>
                  <a:cubicBezTo>
                    <a:pt x="159639" y="203073"/>
                    <a:pt x="149447" y="213741"/>
                    <a:pt x="136969" y="222504"/>
                  </a:cubicBezTo>
                  <a:cubicBezTo>
                    <a:pt x="124492" y="231267"/>
                    <a:pt x="108299" y="235648"/>
                    <a:pt x="88297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5" name="Freeform: Shape 37">
              <a:extLst>
                <a:ext uri="{FF2B5EF4-FFF2-40B4-BE49-F238E27FC236}">
                  <a16:creationId xmlns:a16="http://schemas.microsoft.com/office/drawing/2014/main" id="{BBD0673A-F2AB-3025-9DD8-3B8CC53DFB6C}"/>
                </a:ext>
              </a:extLst>
            </p:cNvPr>
            <p:cNvSpPr/>
            <p:nvPr/>
          </p:nvSpPr>
          <p:spPr>
            <a:xfrm>
              <a:off x="5522205" y="901353"/>
              <a:ext cx="58567" cy="83182"/>
            </a:xfrm>
            <a:custGeom>
              <a:avLst/>
              <a:gdLst>
                <a:gd name="connsiteX0" fmla="*/ 110204 w 232981"/>
                <a:gd name="connsiteY0" fmla="*/ 330898 h 330898"/>
                <a:gd name="connsiteX1" fmla="*/ 69628 w 232981"/>
                <a:gd name="connsiteY1" fmla="*/ 322897 h 330898"/>
                <a:gd name="connsiteX2" fmla="*/ 34385 w 232981"/>
                <a:gd name="connsiteY2" fmla="*/ 299466 h 330898"/>
                <a:gd name="connsiteX3" fmla="*/ 9334 w 232981"/>
                <a:gd name="connsiteY3" fmla="*/ 261938 h 330898"/>
                <a:gd name="connsiteX4" fmla="*/ 0 w 232981"/>
                <a:gd name="connsiteY4" fmla="*/ 211264 h 330898"/>
                <a:gd name="connsiteX5" fmla="*/ 0 w 232981"/>
                <a:gd name="connsiteY5" fmla="*/ 210407 h 330898"/>
                <a:gd name="connsiteX6" fmla="*/ 9334 w 232981"/>
                <a:gd name="connsiteY6" fmla="*/ 159925 h 330898"/>
                <a:gd name="connsiteX7" fmla="*/ 34385 w 232981"/>
                <a:gd name="connsiteY7" fmla="*/ 122206 h 330898"/>
                <a:gd name="connsiteX8" fmla="*/ 69628 w 232981"/>
                <a:gd name="connsiteY8" fmla="*/ 98488 h 330898"/>
                <a:gd name="connsiteX9" fmla="*/ 110204 w 232981"/>
                <a:gd name="connsiteY9" fmla="*/ 90202 h 330898"/>
                <a:gd name="connsiteX10" fmla="*/ 139636 w 232981"/>
                <a:gd name="connsiteY10" fmla="*/ 94202 h 330898"/>
                <a:gd name="connsiteX11" fmla="*/ 163735 w 232981"/>
                <a:gd name="connsiteY11" fmla="*/ 104870 h 330898"/>
                <a:gd name="connsiteX12" fmla="*/ 183166 w 232981"/>
                <a:gd name="connsiteY12" fmla="*/ 120491 h 330898"/>
                <a:gd name="connsiteX13" fmla="*/ 198596 w 232981"/>
                <a:gd name="connsiteY13" fmla="*/ 139255 h 330898"/>
                <a:gd name="connsiteX14" fmla="*/ 198596 w 232981"/>
                <a:gd name="connsiteY14" fmla="*/ 0 h 330898"/>
                <a:gd name="connsiteX15" fmla="*/ 232981 w 232981"/>
                <a:gd name="connsiteY15" fmla="*/ 0 h 330898"/>
                <a:gd name="connsiteX16" fmla="*/ 232981 w 232981"/>
                <a:gd name="connsiteY16" fmla="*/ 325850 h 330898"/>
                <a:gd name="connsiteX17" fmla="*/ 198596 w 232981"/>
                <a:gd name="connsiteY17" fmla="*/ 325850 h 330898"/>
                <a:gd name="connsiteX18" fmla="*/ 198596 w 232981"/>
                <a:gd name="connsiteY18" fmla="*/ 279463 h 330898"/>
                <a:gd name="connsiteX19" fmla="*/ 182785 w 232981"/>
                <a:gd name="connsiteY19" fmla="*/ 299085 h 330898"/>
                <a:gd name="connsiteX20" fmla="*/ 163354 w 232981"/>
                <a:gd name="connsiteY20" fmla="*/ 315658 h 330898"/>
                <a:gd name="connsiteX21" fmla="*/ 139446 w 232981"/>
                <a:gd name="connsiteY21" fmla="*/ 326803 h 330898"/>
                <a:gd name="connsiteX22" fmla="*/ 110204 w 232981"/>
                <a:gd name="connsiteY22" fmla="*/ 330803 h 330898"/>
                <a:gd name="connsiteX23" fmla="*/ 116491 w 232981"/>
                <a:gd name="connsiteY23" fmla="*/ 300133 h 330898"/>
                <a:gd name="connsiteX24" fmla="*/ 147542 w 232981"/>
                <a:gd name="connsiteY24" fmla="*/ 293656 h 330898"/>
                <a:gd name="connsiteX25" fmla="*/ 174307 w 232981"/>
                <a:gd name="connsiteY25" fmla="*/ 275368 h 330898"/>
                <a:gd name="connsiteX26" fmla="*/ 193072 w 232981"/>
                <a:gd name="connsiteY26" fmla="*/ 247269 h 330898"/>
                <a:gd name="connsiteX27" fmla="*/ 200025 w 232981"/>
                <a:gd name="connsiteY27" fmla="*/ 210883 h 330898"/>
                <a:gd name="connsiteX28" fmla="*/ 200025 w 232981"/>
                <a:gd name="connsiteY28" fmla="*/ 210026 h 330898"/>
                <a:gd name="connsiteX29" fmla="*/ 193072 w 232981"/>
                <a:gd name="connsiteY29" fmla="*/ 173641 h 330898"/>
                <a:gd name="connsiteX30" fmla="*/ 174307 w 232981"/>
                <a:gd name="connsiteY30" fmla="*/ 145732 h 330898"/>
                <a:gd name="connsiteX31" fmla="*/ 147542 w 232981"/>
                <a:gd name="connsiteY31" fmla="*/ 127635 h 330898"/>
                <a:gd name="connsiteX32" fmla="*/ 116491 w 232981"/>
                <a:gd name="connsiteY32" fmla="*/ 121158 h 330898"/>
                <a:gd name="connsiteX33" fmla="*/ 84772 w 232981"/>
                <a:gd name="connsiteY33" fmla="*/ 127159 h 330898"/>
                <a:gd name="connsiteX34" fmla="*/ 59150 w 232981"/>
                <a:gd name="connsiteY34" fmla="*/ 144589 h 330898"/>
                <a:gd name="connsiteX35" fmla="*/ 41719 w 232981"/>
                <a:gd name="connsiteY35" fmla="*/ 172498 h 330898"/>
                <a:gd name="connsiteX36" fmla="*/ 35242 w 232981"/>
                <a:gd name="connsiteY36" fmla="*/ 210026 h 330898"/>
                <a:gd name="connsiteX37" fmla="*/ 35242 w 232981"/>
                <a:gd name="connsiteY37" fmla="*/ 210883 h 330898"/>
                <a:gd name="connsiteX38" fmla="*/ 41719 w 232981"/>
                <a:gd name="connsiteY38" fmla="*/ 247936 h 330898"/>
                <a:gd name="connsiteX39" fmla="*/ 59341 w 232981"/>
                <a:gd name="connsiteY39" fmla="*/ 276034 h 330898"/>
                <a:gd name="connsiteX40" fmla="*/ 85249 w 232981"/>
                <a:gd name="connsiteY40" fmla="*/ 293941 h 330898"/>
                <a:gd name="connsiteX41" fmla="*/ 116491 w 23298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30898">
                  <a:moveTo>
                    <a:pt x="110204" y="330898"/>
                  </a:moveTo>
                  <a:cubicBezTo>
                    <a:pt x="96202" y="330898"/>
                    <a:pt x="82677" y="328231"/>
                    <a:pt x="69628" y="322897"/>
                  </a:cubicBezTo>
                  <a:cubicBezTo>
                    <a:pt x="56578" y="317563"/>
                    <a:pt x="44767" y="309753"/>
                    <a:pt x="34385" y="299466"/>
                  </a:cubicBezTo>
                  <a:cubicBezTo>
                    <a:pt x="24003" y="289179"/>
                    <a:pt x="15621" y="276701"/>
                    <a:pt x="9334" y="261938"/>
                  </a:cubicBezTo>
                  <a:cubicBezTo>
                    <a:pt x="3048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334" y="159925"/>
                  </a:cubicBezTo>
                  <a:cubicBezTo>
                    <a:pt x="15621" y="145066"/>
                    <a:pt x="23908" y="132493"/>
                    <a:pt x="34385" y="122206"/>
                  </a:cubicBezTo>
                  <a:cubicBezTo>
                    <a:pt x="44767" y="111919"/>
                    <a:pt x="56578" y="104013"/>
                    <a:pt x="69628" y="98488"/>
                  </a:cubicBezTo>
                  <a:cubicBezTo>
                    <a:pt x="82677" y="92964"/>
                    <a:pt x="96298" y="90202"/>
                    <a:pt x="110204" y="90202"/>
                  </a:cubicBezTo>
                  <a:cubicBezTo>
                    <a:pt x="120967" y="90202"/>
                    <a:pt x="130778" y="91535"/>
                    <a:pt x="139636" y="94202"/>
                  </a:cubicBezTo>
                  <a:cubicBezTo>
                    <a:pt x="148590" y="96869"/>
                    <a:pt x="156591" y="100489"/>
                    <a:pt x="163735" y="104870"/>
                  </a:cubicBezTo>
                  <a:cubicBezTo>
                    <a:pt x="170878" y="109347"/>
                    <a:pt x="177356" y="114586"/>
                    <a:pt x="183166" y="120491"/>
                  </a:cubicBezTo>
                  <a:cubicBezTo>
                    <a:pt x="188976" y="126492"/>
                    <a:pt x="194119" y="132683"/>
                    <a:pt x="198596" y="139255"/>
                  </a:cubicBezTo>
                  <a:lnTo>
                    <a:pt x="198596" y="0"/>
                  </a:lnTo>
                  <a:lnTo>
                    <a:pt x="232981" y="0"/>
                  </a:lnTo>
                  <a:lnTo>
                    <a:pt x="232981" y="325850"/>
                  </a:lnTo>
                  <a:lnTo>
                    <a:pt x="198596" y="325850"/>
                  </a:lnTo>
                  <a:lnTo>
                    <a:pt x="198596" y="279463"/>
                  </a:lnTo>
                  <a:cubicBezTo>
                    <a:pt x="193834" y="286321"/>
                    <a:pt x="188595" y="292894"/>
                    <a:pt x="182785" y="299085"/>
                  </a:cubicBezTo>
                  <a:cubicBezTo>
                    <a:pt x="176974" y="305371"/>
                    <a:pt x="170498" y="310896"/>
                    <a:pt x="163354" y="315658"/>
                  </a:cubicBezTo>
                  <a:cubicBezTo>
                    <a:pt x="156210" y="320421"/>
                    <a:pt x="148209" y="324136"/>
                    <a:pt x="139446" y="326803"/>
                  </a:cubicBezTo>
                  <a:cubicBezTo>
                    <a:pt x="130683" y="329470"/>
                    <a:pt x="120967" y="330803"/>
                    <a:pt x="110204" y="330803"/>
                  </a:cubicBezTo>
                  <a:close/>
                  <a:moveTo>
                    <a:pt x="116491" y="300133"/>
                  </a:moveTo>
                  <a:cubicBezTo>
                    <a:pt x="127159" y="300133"/>
                    <a:pt x="137541" y="297942"/>
                    <a:pt x="147542" y="293656"/>
                  </a:cubicBezTo>
                  <a:cubicBezTo>
                    <a:pt x="157544" y="289369"/>
                    <a:pt x="166402" y="283273"/>
                    <a:pt x="174307" y="275368"/>
                  </a:cubicBezTo>
                  <a:cubicBezTo>
                    <a:pt x="182213" y="267462"/>
                    <a:pt x="188404" y="258127"/>
                    <a:pt x="193072" y="247269"/>
                  </a:cubicBezTo>
                  <a:cubicBezTo>
                    <a:pt x="197644" y="236410"/>
                    <a:pt x="200025" y="224314"/>
                    <a:pt x="200025" y="210883"/>
                  </a:cubicBezTo>
                  <a:lnTo>
                    <a:pt x="200025" y="210026"/>
                  </a:lnTo>
                  <a:cubicBezTo>
                    <a:pt x="200025" y="196596"/>
                    <a:pt x="197739" y="184499"/>
                    <a:pt x="193072" y="173641"/>
                  </a:cubicBezTo>
                  <a:cubicBezTo>
                    <a:pt x="188500" y="162782"/>
                    <a:pt x="182213" y="153448"/>
                    <a:pt x="174307" y="145732"/>
                  </a:cubicBezTo>
                  <a:cubicBezTo>
                    <a:pt x="166402" y="138017"/>
                    <a:pt x="157448" y="132016"/>
                    <a:pt x="147542" y="127635"/>
                  </a:cubicBezTo>
                  <a:cubicBezTo>
                    <a:pt x="137541" y="123349"/>
                    <a:pt x="127254" y="121158"/>
                    <a:pt x="116491" y="121158"/>
                  </a:cubicBezTo>
                  <a:cubicBezTo>
                    <a:pt x="105156" y="121158"/>
                    <a:pt x="94583" y="123158"/>
                    <a:pt x="84772" y="127159"/>
                  </a:cubicBezTo>
                  <a:cubicBezTo>
                    <a:pt x="74962" y="131159"/>
                    <a:pt x="66389" y="136969"/>
                    <a:pt x="59150" y="144589"/>
                  </a:cubicBezTo>
                  <a:cubicBezTo>
                    <a:pt x="51816" y="152114"/>
                    <a:pt x="46101" y="161449"/>
                    <a:pt x="41719" y="172498"/>
                  </a:cubicBezTo>
                  <a:cubicBezTo>
                    <a:pt x="37433" y="183451"/>
                    <a:pt x="35242" y="196024"/>
                    <a:pt x="35242" y="210026"/>
                  </a:cubicBezTo>
                  <a:lnTo>
                    <a:pt x="35242" y="210883"/>
                  </a:lnTo>
                  <a:cubicBezTo>
                    <a:pt x="35242" y="224599"/>
                    <a:pt x="37433" y="236982"/>
                    <a:pt x="41719" y="247936"/>
                  </a:cubicBezTo>
                  <a:cubicBezTo>
                    <a:pt x="46006" y="258984"/>
                    <a:pt x="51911" y="268319"/>
                    <a:pt x="59341" y="276034"/>
                  </a:cubicBezTo>
                  <a:cubicBezTo>
                    <a:pt x="66770" y="283750"/>
                    <a:pt x="75438" y="289750"/>
                    <a:pt x="85249" y="293941"/>
                  </a:cubicBezTo>
                  <a:cubicBezTo>
                    <a:pt x="95059" y="298132"/>
                    <a:pt x="105442" y="300228"/>
                    <a:pt x="11649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6" name="Freeform: Shape 38">
              <a:extLst>
                <a:ext uri="{FF2B5EF4-FFF2-40B4-BE49-F238E27FC236}">
                  <a16:creationId xmlns:a16="http://schemas.microsoft.com/office/drawing/2014/main" id="{C36D8B6F-125B-6B7A-7254-22CAE54D6B42}"/>
                </a:ext>
              </a:extLst>
            </p:cNvPr>
            <p:cNvSpPr/>
            <p:nvPr/>
          </p:nvSpPr>
          <p:spPr>
            <a:xfrm>
              <a:off x="5596504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6963 w 218217"/>
                <a:gd name="connsiteY3" fmla="*/ 206026 h 241077"/>
                <a:gd name="connsiteX4" fmla="*/ 116015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8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1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452 w 218217"/>
                <a:gd name="connsiteY25" fmla="*/ 106299 h 241077"/>
                <a:gd name="connsiteX26" fmla="*/ 176784 w 218217"/>
                <a:gd name="connsiteY26" fmla="*/ 76771 h 241077"/>
                <a:gd name="connsiteX27" fmla="*/ 162306 w 218217"/>
                <a:gd name="connsiteY27" fmla="*/ 52101 h 241077"/>
                <a:gd name="connsiteX28" fmla="*/ 140018 w 218217"/>
                <a:gd name="connsiteY28" fmla="*/ 35242 h 241077"/>
                <a:gd name="connsiteX29" fmla="*/ 109919 w 218217"/>
                <a:gd name="connsiteY29" fmla="*/ 29051 h 241077"/>
                <a:gd name="connsiteX30" fmla="*/ 82201 w 218217"/>
                <a:gd name="connsiteY30" fmla="*/ 34766 h 241077"/>
                <a:gd name="connsiteX31" fmla="*/ 59436 w 218217"/>
                <a:gd name="connsiteY31" fmla="*/ 50959 h 241077"/>
                <a:gd name="connsiteX32" fmla="*/ 43148 w 218217"/>
                <a:gd name="connsiteY32" fmla="*/ 75628 h 241077"/>
                <a:gd name="connsiteX33" fmla="*/ 34862 w 218217"/>
                <a:gd name="connsiteY33" fmla="*/ 106204 h 241077"/>
                <a:gd name="connsiteX34" fmla="*/ 183547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724" y="202597"/>
                    <a:pt x="86963" y="206026"/>
                  </a:cubicBezTo>
                  <a:cubicBezTo>
                    <a:pt x="96203" y="209455"/>
                    <a:pt x="105823" y="211169"/>
                    <a:pt x="116015" y="211169"/>
                  </a:cubicBezTo>
                  <a:cubicBezTo>
                    <a:pt x="132112" y="211169"/>
                    <a:pt x="145828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7" y="221361"/>
                    <a:pt x="170498" y="229267"/>
                  </a:cubicBezTo>
                  <a:cubicBezTo>
                    <a:pt x="155639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679" y="0"/>
                    <a:pt x="110681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452" y="106299"/>
                  </a:moveTo>
                  <a:cubicBezTo>
                    <a:pt x="182594" y="95917"/>
                    <a:pt x="180308" y="86106"/>
                    <a:pt x="176784" y="76771"/>
                  </a:cubicBezTo>
                  <a:cubicBezTo>
                    <a:pt x="173165" y="67437"/>
                    <a:pt x="168402" y="59245"/>
                    <a:pt x="162306" y="52101"/>
                  </a:cubicBezTo>
                  <a:cubicBezTo>
                    <a:pt x="156210" y="44958"/>
                    <a:pt x="148781" y="39338"/>
                    <a:pt x="140018" y="35242"/>
                  </a:cubicBezTo>
                  <a:cubicBezTo>
                    <a:pt x="131254" y="31147"/>
                    <a:pt x="121158" y="29051"/>
                    <a:pt x="109919" y="29051"/>
                  </a:cubicBezTo>
                  <a:cubicBezTo>
                    <a:pt x="100108" y="29051"/>
                    <a:pt x="90869" y="30956"/>
                    <a:pt x="82201" y="34766"/>
                  </a:cubicBezTo>
                  <a:cubicBezTo>
                    <a:pt x="73533" y="38671"/>
                    <a:pt x="66008" y="44005"/>
                    <a:pt x="59436" y="50959"/>
                  </a:cubicBezTo>
                  <a:cubicBezTo>
                    <a:pt x="52864" y="57912"/>
                    <a:pt x="47435" y="66103"/>
                    <a:pt x="43148" y="75628"/>
                  </a:cubicBezTo>
                  <a:cubicBezTo>
                    <a:pt x="38862" y="85058"/>
                    <a:pt x="36100" y="95345"/>
                    <a:pt x="34862" y="106204"/>
                  </a:cubicBezTo>
                  <a:lnTo>
                    <a:pt x="183547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7" name="Freeform: Shape 39">
              <a:extLst>
                <a:ext uri="{FF2B5EF4-FFF2-40B4-BE49-F238E27FC236}">
                  <a16:creationId xmlns:a16="http://schemas.microsoft.com/office/drawing/2014/main" id="{E43CAB24-D604-2C18-4392-96F748DDC2F9}"/>
                </a:ext>
              </a:extLst>
            </p:cNvPr>
            <p:cNvSpPr/>
            <p:nvPr/>
          </p:nvSpPr>
          <p:spPr>
            <a:xfrm>
              <a:off x="5661680" y="924268"/>
              <a:ext cx="44656" cy="60195"/>
            </a:xfrm>
            <a:custGeom>
              <a:avLst/>
              <a:gdLst>
                <a:gd name="connsiteX0" fmla="*/ 95536 w 177641"/>
                <a:gd name="connsiteY0" fmla="*/ 239268 h 239458"/>
                <a:gd name="connsiteX1" fmla="*/ 45053 w 177641"/>
                <a:gd name="connsiteY1" fmla="*/ 230124 h 239458"/>
                <a:gd name="connsiteX2" fmla="*/ 0 w 177641"/>
                <a:gd name="connsiteY2" fmla="*/ 205359 h 239458"/>
                <a:gd name="connsiteX3" fmla="*/ 17431 w 177641"/>
                <a:gd name="connsiteY3" fmla="*/ 180785 h 239458"/>
                <a:gd name="connsiteX4" fmla="*/ 56483 w 177641"/>
                <a:gd name="connsiteY4" fmla="*/ 202692 h 239458"/>
                <a:gd name="connsiteX5" fmla="*/ 97346 w 177641"/>
                <a:gd name="connsiteY5" fmla="*/ 210217 h 239458"/>
                <a:gd name="connsiteX6" fmla="*/ 131731 w 177641"/>
                <a:gd name="connsiteY6" fmla="*/ 200406 h 239458"/>
                <a:gd name="connsiteX7" fmla="*/ 145161 w 177641"/>
                <a:gd name="connsiteY7" fmla="*/ 173641 h 239458"/>
                <a:gd name="connsiteX8" fmla="*/ 145161 w 177641"/>
                <a:gd name="connsiteY8" fmla="*/ 172784 h 239458"/>
                <a:gd name="connsiteX9" fmla="*/ 140494 w 177641"/>
                <a:gd name="connsiteY9" fmla="*/ 158020 h 239458"/>
                <a:gd name="connsiteX10" fmla="*/ 127730 w 177641"/>
                <a:gd name="connsiteY10" fmla="*/ 147066 h 239458"/>
                <a:gd name="connsiteX11" fmla="*/ 109157 w 177641"/>
                <a:gd name="connsiteY11" fmla="*/ 138779 h 239458"/>
                <a:gd name="connsiteX12" fmla="*/ 87535 w 177641"/>
                <a:gd name="connsiteY12" fmla="*/ 132112 h 239458"/>
                <a:gd name="connsiteX13" fmla="*/ 60484 w 177641"/>
                <a:gd name="connsiteY13" fmla="*/ 123444 h 239458"/>
                <a:gd name="connsiteX14" fmla="*/ 35909 w 177641"/>
                <a:gd name="connsiteY14" fmla="*/ 111633 h 239458"/>
                <a:gd name="connsiteX15" fmla="*/ 18098 w 177641"/>
                <a:gd name="connsiteY15" fmla="*/ 93726 h 239458"/>
                <a:gd name="connsiteX16" fmla="*/ 11144 w 177641"/>
                <a:gd name="connsiteY16" fmla="*/ 66961 h 239458"/>
                <a:gd name="connsiteX17" fmla="*/ 11144 w 177641"/>
                <a:gd name="connsiteY17" fmla="*/ 66008 h 239458"/>
                <a:gd name="connsiteX18" fmla="*/ 16954 w 177641"/>
                <a:gd name="connsiteY18" fmla="*/ 39053 h 239458"/>
                <a:gd name="connsiteX19" fmla="*/ 33242 w 177641"/>
                <a:gd name="connsiteY19" fmla="*/ 18098 h 239458"/>
                <a:gd name="connsiteX20" fmla="*/ 58293 w 177641"/>
                <a:gd name="connsiteY20" fmla="*/ 4667 h 239458"/>
                <a:gd name="connsiteX21" fmla="*/ 89725 w 177641"/>
                <a:gd name="connsiteY21" fmla="*/ 0 h 239458"/>
                <a:gd name="connsiteX22" fmla="*/ 133064 w 177641"/>
                <a:gd name="connsiteY22" fmla="*/ 6953 h 239458"/>
                <a:gd name="connsiteX23" fmla="*/ 172784 w 177641"/>
                <a:gd name="connsiteY23" fmla="*/ 25527 h 239458"/>
                <a:gd name="connsiteX24" fmla="*/ 157163 w 177641"/>
                <a:gd name="connsiteY24" fmla="*/ 51435 h 239458"/>
                <a:gd name="connsiteX25" fmla="*/ 123444 w 177641"/>
                <a:gd name="connsiteY25" fmla="*/ 35147 h 239458"/>
                <a:gd name="connsiteX26" fmla="*/ 88868 w 177641"/>
                <a:gd name="connsiteY26" fmla="*/ 29146 h 239458"/>
                <a:gd name="connsiteX27" fmla="*/ 56293 w 177641"/>
                <a:gd name="connsiteY27" fmla="*/ 38767 h 239458"/>
                <a:gd name="connsiteX28" fmla="*/ 44196 w 177641"/>
                <a:gd name="connsiteY28" fmla="*/ 62675 h 239458"/>
                <a:gd name="connsiteX29" fmla="*/ 44196 w 177641"/>
                <a:gd name="connsiteY29" fmla="*/ 63627 h 239458"/>
                <a:gd name="connsiteX30" fmla="*/ 49149 w 177641"/>
                <a:gd name="connsiteY30" fmla="*/ 77724 h 239458"/>
                <a:gd name="connsiteX31" fmla="*/ 62294 w 177641"/>
                <a:gd name="connsiteY31" fmla="*/ 88202 h 239458"/>
                <a:gd name="connsiteX32" fmla="*/ 81248 w 177641"/>
                <a:gd name="connsiteY32" fmla="*/ 96203 h 239458"/>
                <a:gd name="connsiteX33" fmla="*/ 103537 w 177641"/>
                <a:gd name="connsiteY33" fmla="*/ 103346 h 239458"/>
                <a:gd name="connsiteX34" fmla="*/ 130112 w 177641"/>
                <a:gd name="connsiteY34" fmla="*/ 112300 h 239458"/>
                <a:gd name="connsiteX35" fmla="*/ 154019 w 177641"/>
                <a:gd name="connsiteY35" fmla="*/ 124778 h 239458"/>
                <a:gd name="connsiteX36" fmla="*/ 171164 w 177641"/>
                <a:gd name="connsiteY36" fmla="*/ 143066 h 239458"/>
                <a:gd name="connsiteX37" fmla="*/ 177641 w 177641"/>
                <a:gd name="connsiteY37" fmla="*/ 169450 h 239458"/>
                <a:gd name="connsiteX38" fmla="*/ 177641 w 177641"/>
                <a:gd name="connsiteY38" fmla="*/ 170307 h 239458"/>
                <a:gd name="connsiteX39" fmla="*/ 171164 w 177641"/>
                <a:gd name="connsiteY39" fmla="*/ 199549 h 239458"/>
                <a:gd name="connsiteX40" fmla="*/ 153734 w 177641"/>
                <a:gd name="connsiteY40" fmla="*/ 221171 h 239458"/>
                <a:gd name="connsiteX41" fmla="*/ 127825 w 177641"/>
                <a:gd name="connsiteY41" fmla="*/ 234791 h 239458"/>
                <a:gd name="connsiteX42" fmla="*/ 95441 w 177641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641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8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2" y="162211"/>
                    <a:pt x="140494" y="158020"/>
                  </a:cubicBezTo>
                  <a:cubicBezTo>
                    <a:pt x="137350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157" y="138779"/>
                  </a:cubicBezTo>
                  <a:cubicBezTo>
                    <a:pt x="102203" y="136398"/>
                    <a:pt x="94964" y="134207"/>
                    <a:pt x="87535" y="132112"/>
                  </a:cubicBezTo>
                  <a:cubicBezTo>
                    <a:pt x="78581" y="129445"/>
                    <a:pt x="69628" y="126492"/>
                    <a:pt x="60484" y="123444"/>
                  </a:cubicBezTo>
                  <a:cubicBezTo>
                    <a:pt x="51435" y="120301"/>
                    <a:pt x="43244" y="116396"/>
                    <a:pt x="35909" y="111633"/>
                  </a:cubicBezTo>
                  <a:cubicBezTo>
                    <a:pt x="28575" y="106871"/>
                    <a:pt x="22670" y="100870"/>
                    <a:pt x="18098" y="93726"/>
                  </a:cubicBezTo>
                  <a:cubicBezTo>
                    <a:pt x="13525" y="86582"/>
                    <a:pt x="11144" y="77629"/>
                    <a:pt x="11144" y="66961"/>
                  </a:cubicBezTo>
                  <a:lnTo>
                    <a:pt x="11144" y="66008"/>
                  </a:lnTo>
                  <a:cubicBezTo>
                    <a:pt x="11144" y="56198"/>
                    <a:pt x="13049" y="47149"/>
                    <a:pt x="16954" y="39053"/>
                  </a:cubicBezTo>
                  <a:cubicBezTo>
                    <a:pt x="20860" y="30861"/>
                    <a:pt x="26289" y="23908"/>
                    <a:pt x="33242" y="18098"/>
                  </a:cubicBezTo>
                  <a:cubicBezTo>
                    <a:pt x="40196" y="12287"/>
                    <a:pt x="48578" y="7811"/>
                    <a:pt x="58293" y="4667"/>
                  </a:cubicBezTo>
                  <a:cubicBezTo>
                    <a:pt x="67913" y="1524"/>
                    <a:pt x="78486" y="0"/>
                    <a:pt x="89725" y="0"/>
                  </a:cubicBezTo>
                  <a:cubicBezTo>
                    <a:pt x="104013" y="0"/>
                    <a:pt x="118396" y="2286"/>
                    <a:pt x="133064" y="6953"/>
                  </a:cubicBezTo>
                  <a:cubicBezTo>
                    <a:pt x="147638" y="11621"/>
                    <a:pt x="160877" y="17717"/>
                    <a:pt x="172784" y="25527"/>
                  </a:cubicBezTo>
                  <a:lnTo>
                    <a:pt x="157163" y="51435"/>
                  </a:lnTo>
                  <a:cubicBezTo>
                    <a:pt x="146399" y="44577"/>
                    <a:pt x="135255" y="39148"/>
                    <a:pt x="123444" y="35147"/>
                  </a:cubicBezTo>
                  <a:cubicBezTo>
                    <a:pt x="111728" y="31147"/>
                    <a:pt x="100203" y="29146"/>
                    <a:pt x="88868" y="29146"/>
                  </a:cubicBezTo>
                  <a:cubicBezTo>
                    <a:pt x="75152" y="29146"/>
                    <a:pt x="64294" y="32385"/>
                    <a:pt x="56293" y="38767"/>
                  </a:cubicBezTo>
                  <a:cubicBezTo>
                    <a:pt x="48292" y="45149"/>
                    <a:pt x="44196" y="53150"/>
                    <a:pt x="44196" y="62675"/>
                  </a:cubicBezTo>
                  <a:lnTo>
                    <a:pt x="44196" y="63627"/>
                  </a:lnTo>
                  <a:cubicBezTo>
                    <a:pt x="44196" y="68961"/>
                    <a:pt x="45815" y="73628"/>
                    <a:pt x="49149" y="77724"/>
                  </a:cubicBezTo>
                  <a:cubicBezTo>
                    <a:pt x="52388" y="81725"/>
                    <a:pt x="56769" y="85249"/>
                    <a:pt x="62294" y="88202"/>
                  </a:cubicBezTo>
                  <a:cubicBezTo>
                    <a:pt x="67818" y="91154"/>
                    <a:pt x="74104" y="93821"/>
                    <a:pt x="81248" y="96203"/>
                  </a:cubicBezTo>
                  <a:cubicBezTo>
                    <a:pt x="88392" y="98584"/>
                    <a:pt x="95821" y="100965"/>
                    <a:pt x="103537" y="103346"/>
                  </a:cubicBezTo>
                  <a:cubicBezTo>
                    <a:pt x="112490" y="106013"/>
                    <a:pt x="121349" y="108966"/>
                    <a:pt x="130112" y="112300"/>
                  </a:cubicBezTo>
                  <a:cubicBezTo>
                    <a:pt x="138875" y="115538"/>
                    <a:pt x="146875" y="119729"/>
                    <a:pt x="154019" y="124778"/>
                  </a:cubicBezTo>
                  <a:cubicBezTo>
                    <a:pt x="161163" y="129826"/>
                    <a:pt x="166878" y="135922"/>
                    <a:pt x="171164" y="143066"/>
                  </a:cubicBezTo>
                  <a:cubicBezTo>
                    <a:pt x="175450" y="150209"/>
                    <a:pt x="177641" y="158972"/>
                    <a:pt x="177641" y="169450"/>
                  </a:cubicBezTo>
                  <a:lnTo>
                    <a:pt x="177641" y="170307"/>
                  </a:lnTo>
                  <a:cubicBezTo>
                    <a:pt x="177641" y="181356"/>
                    <a:pt x="175450" y="191071"/>
                    <a:pt x="171164" y="199549"/>
                  </a:cubicBezTo>
                  <a:cubicBezTo>
                    <a:pt x="166878" y="208026"/>
                    <a:pt x="161068" y="215265"/>
                    <a:pt x="153734" y="221171"/>
                  </a:cubicBezTo>
                  <a:cubicBezTo>
                    <a:pt x="146495" y="227171"/>
                    <a:pt x="137827" y="231648"/>
                    <a:pt x="127825" y="234791"/>
                  </a:cubicBezTo>
                  <a:cubicBezTo>
                    <a:pt x="117824" y="237935"/>
                    <a:pt x="107061" y="239459"/>
                    <a:pt x="95441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8" name="Freeform: Shape 40">
              <a:extLst>
                <a:ext uri="{FF2B5EF4-FFF2-40B4-BE49-F238E27FC236}">
                  <a16:creationId xmlns:a16="http://schemas.microsoft.com/office/drawing/2014/main" id="{AA580FDB-4715-C850-94B3-A32F19F8EB63}"/>
                </a:ext>
              </a:extLst>
            </p:cNvPr>
            <p:cNvSpPr/>
            <p:nvPr/>
          </p:nvSpPr>
          <p:spPr>
            <a:xfrm>
              <a:off x="5752668" y="924028"/>
              <a:ext cx="58567" cy="77196"/>
            </a:xfrm>
            <a:custGeom>
              <a:avLst/>
              <a:gdLst>
                <a:gd name="connsiteX0" fmla="*/ 198596 w 232981"/>
                <a:gd name="connsiteY0" fmla="*/ 189357 h 307085"/>
                <a:gd name="connsiteX1" fmla="*/ 182785 w 232981"/>
                <a:gd name="connsiteY1" fmla="*/ 208978 h 307085"/>
                <a:gd name="connsiteX2" fmla="*/ 163354 w 232981"/>
                <a:gd name="connsiteY2" fmla="*/ 225552 h 307085"/>
                <a:gd name="connsiteX3" fmla="*/ 139446 w 232981"/>
                <a:gd name="connsiteY3" fmla="*/ 236696 h 307085"/>
                <a:gd name="connsiteX4" fmla="*/ 110204 w 232981"/>
                <a:gd name="connsiteY4" fmla="*/ 240697 h 307085"/>
                <a:gd name="connsiteX5" fmla="*/ 69628 w 232981"/>
                <a:gd name="connsiteY5" fmla="*/ 232696 h 307085"/>
                <a:gd name="connsiteX6" fmla="*/ 34385 w 232981"/>
                <a:gd name="connsiteY6" fmla="*/ 209264 h 307085"/>
                <a:gd name="connsiteX7" fmla="*/ 9335 w 232981"/>
                <a:gd name="connsiteY7" fmla="*/ 171736 h 307085"/>
                <a:gd name="connsiteX8" fmla="*/ 0 w 232981"/>
                <a:gd name="connsiteY8" fmla="*/ 121063 h 307085"/>
                <a:gd name="connsiteX9" fmla="*/ 0 w 232981"/>
                <a:gd name="connsiteY9" fmla="*/ 120205 h 307085"/>
                <a:gd name="connsiteX10" fmla="*/ 9335 w 232981"/>
                <a:gd name="connsiteY10" fmla="*/ 69723 h 307085"/>
                <a:gd name="connsiteX11" fmla="*/ 34385 w 232981"/>
                <a:gd name="connsiteY11" fmla="*/ 32004 h 307085"/>
                <a:gd name="connsiteX12" fmla="*/ 69628 w 232981"/>
                <a:gd name="connsiteY12" fmla="*/ 8287 h 307085"/>
                <a:gd name="connsiteX13" fmla="*/ 110204 w 232981"/>
                <a:gd name="connsiteY13" fmla="*/ 0 h 307085"/>
                <a:gd name="connsiteX14" fmla="*/ 139637 w 232981"/>
                <a:gd name="connsiteY14" fmla="*/ 4000 h 307085"/>
                <a:gd name="connsiteX15" fmla="*/ 163735 w 232981"/>
                <a:gd name="connsiteY15" fmla="*/ 14668 h 307085"/>
                <a:gd name="connsiteX16" fmla="*/ 183166 w 232981"/>
                <a:gd name="connsiteY16" fmla="*/ 30289 h 307085"/>
                <a:gd name="connsiteX17" fmla="*/ 198596 w 232981"/>
                <a:gd name="connsiteY17" fmla="*/ 49054 h 307085"/>
                <a:gd name="connsiteX18" fmla="*/ 198596 w 232981"/>
                <a:gd name="connsiteY18" fmla="*/ 4858 h 307085"/>
                <a:gd name="connsiteX19" fmla="*/ 232982 w 232981"/>
                <a:gd name="connsiteY19" fmla="*/ 4858 h 307085"/>
                <a:gd name="connsiteX20" fmla="*/ 232982 w 232981"/>
                <a:gd name="connsiteY20" fmla="*/ 307086 h 307085"/>
                <a:gd name="connsiteX21" fmla="*/ 198596 w 232981"/>
                <a:gd name="connsiteY21" fmla="*/ 307086 h 307085"/>
                <a:gd name="connsiteX22" fmla="*/ 198596 w 232981"/>
                <a:gd name="connsiteY22" fmla="*/ 189262 h 307085"/>
                <a:gd name="connsiteX23" fmla="*/ 116491 w 232981"/>
                <a:gd name="connsiteY23" fmla="*/ 209931 h 307085"/>
                <a:gd name="connsiteX24" fmla="*/ 147542 w 232981"/>
                <a:gd name="connsiteY24" fmla="*/ 203454 h 307085"/>
                <a:gd name="connsiteX25" fmla="*/ 174308 w 232981"/>
                <a:gd name="connsiteY25" fmla="*/ 185166 h 307085"/>
                <a:gd name="connsiteX26" fmla="*/ 193072 w 232981"/>
                <a:gd name="connsiteY26" fmla="*/ 157067 h 307085"/>
                <a:gd name="connsiteX27" fmla="*/ 200025 w 232981"/>
                <a:gd name="connsiteY27" fmla="*/ 120682 h 307085"/>
                <a:gd name="connsiteX28" fmla="*/ 200025 w 232981"/>
                <a:gd name="connsiteY28" fmla="*/ 119824 h 307085"/>
                <a:gd name="connsiteX29" fmla="*/ 193072 w 232981"/>
                <a:gd name="connsiteY29" fmla="*/ 83439 h 307085"/>
                <a:gd name="connsiteX30" fmla="*/ 174308 w 232981"/>
                <a:gd name="connsiteY30" fmla="*/ 55531 h 307085"/>
                <a:gd name="connsiteX31" fmla="*/ 147542 w 232981"/>
                <a:gd name="connsiteY31" fmla="*/ 37433 h 307085"/>
                <a:gd name="connsiteX32" fmla="*/ 116491 w 232981"/>
                <a:gd name="connsiteY32" fmla="*/ 30956 h 307085"/>
                <a:gd name="connsiteX33" fmla="*/ 84773 w 232981"/>
                <a:gd name="connsiteY33" fmla="*/ 36957 h 307085"/>
                <a:gd name="connsiteX34" fmla="*/ 59150 w 232981"/>
                <a:gd name="connsiteY34" fmla="*/ 54388 h 307085"/>
                <a:gd name="connsiteX35" fmla="*/ 41720 w 232981"/>
                <a:gd name="connsiteY35" fmla="*/ 82296 h 307085"/>
                <a:gd name="connsiteX36" fmla="*/ 35242 w 232981"/>
                <a:gd name="connsiteY36" fmla="*/ 119824 h 307085"/>
                <a:gd name="connsiteX37" fmla="*/ 35242 w 232981"/>
                <a:gd name="connsiteY37" fmla="*/ 120682 h 307085"/>
                <a:gd name="connsiteX38" fmla="*/ 41720 w 232981"/>
                <a:gd name="connsiteY38" fmla="*/ 157734 h 307085"/>
                <a:gd name="connsiteX39" fmla="*/ 59341 w 232981"/>
                <a:gd name="connsiteY39" fmla="*/ 185833 h 307085"/>
                <a:gd name="connsiteX40" fmla="*/ 85249 w 232981"/>
                <a:gd name="connsiteY40" fmla="*/ 203740 h 307085"/>
                <a:gd name="connsiteX41" fmla="*/ 116491 w 232981"/>
                <a:gd name="connsiteY41" fmla="*/ 210026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2981" h="307085">
                  <a:moveTo>
                    <a:pt x="198596" y="189357"/>
                  </a:moveTo>
                  <a:cubicBezTo>
                    <a:pt x="193834" y="196215"/>
                    <a:pt x="188595" y="202787"/>
                    <a:pt x="182785" y="208978"/>
                  </a:cubicBezTo>
                  <a:cubicBezTo>
                    <a:pt x="176975" y="215265"/>
                    <a:pt x="170498" y="220789"/>
                    <a:pt x="163354" y="225552"/>
                  </a:cubicBezTo>
                  <a:cubicBezTo>
                    <a:pt x="156210" y="230314"/>
                    <a:pt x="148209" y="234029"/>
                    <a:pt x="139446" y="236696"/>
                  </a:cubicBezTo>
                  <a:cubicBezTo>
                    <a:pt x="130683" y="239363"/>
                    <a:pt x="120967" y="240697"/>
                    <a:pt x="110204" y="240697"/>
                  </a:cubicBezTo>
                  <a:cubicBezTo>
                    <a:pt x="96203" y="240697"/>
                    <a:pt x="82677" y="238030"/>
                    <a:pt x="69628" y="232696"/>
                  </a:cubicBezTo>
                  <a:cubicBezTo>
                    <a:pt x="56579" y="227362"/>
                    <a:pt x="44767" y="219551"/>
                    <a:pt x="34385" y="209264"/>
                  </a:cubicBezTo>
                  <a:cubicBezTo>
                    <a:pt x="24003" y="198977"/>
                    <a:pt x="15621" y="186499"/>
                    <a:pt x="9335" y="171736"/>
                  </a:cubicBezTo>
                  <a:cubicBezTo>
                    <a:pt x="3048" y="156972"/>
                    <a:pt x="0" y="140113"/>
                    <a:pt x="0" y="121063"/>
                  </a:cubicBezTo>
                  <a:lnTo>
                    <a:pt x="0" y="120205"/>
                  </a:lnTo>
                  <a:cubicBezTo>
                    <a:pt x="0" y="101441"/>
                    <a:pt x="3143" y="84677"/>
                    <a:pt x="9335" y="69723"/>
                  </a:cubicBezTo>
                  <a:cubicBezTo>
                    <a:pt x="15621" y="54864"/>
                    <a:pt x="23908" y="42291"/>
                    <a:pt x="34385" y="32004"/>
                  </a:cubicBezTo>
                  <a:cubicBezTo>
                    <a:pt x="44767" y="21717"/>
                    <a:pt x="56579" y="13811"/>
                    <a:pt x="69628" y="8287"/>
                  </a:cubicBezTo>
                  <a:cubicBezTo>
                    <a:pt x="82677" y="2762"/>
                    <a:pt x="96298" y="0"/>
                    <a:pt x="110204" y="0"/>
                  </a:cubicBezTo>
                  <a:cubicBezTo>
                    <a:pt x="120967" y="0"/>
                    <a:pt x="130778" y="1333"/>
                    <a:pt x="139637" y="4000"/>
                  </a:cubicBezTo>
                  <a:cubicBezTo>
                    <a:pt x="148590" y="6667"/>
                    <a:pt x="156591" y="10287"/>
                    <a:pt x="163735" y="14668"/>
                  </a:cubicBezTo>
                  <a:cubicBezTo>
                    <a:pt x="170879" y="19145"/>
                    <a:pt x="177356" y="24384"/>
                    <a:pt x="183166" y="30289"/>
                  </a:cubicBezTo>
                  <a:cubicBezTo>
                    <a:pt x="188976" y="36290"/>
                    <a:pt x="194120" y="42481"/>
                    <a:pt x="198596" y="49054"/>
                  </a:cubicBezTo>
                  <a:lnTo>
                    <a:pt x="198596" y="4858"/>
                  </a:lnTo>
                  <a:lnTo>
                    <a:pt x="232982" y="4858"/>
                  </a:lnTo>
                  <a:lnTo>
                    <a:pt x="232982" y="307086"/>
                  </a:lnTo>
                  <a:lnTo>
                    <a:pt x="198596" y="307086"/>
                  </a:lnTo>
                  <a:lnTo>
                    <a:pt x="198596" y="189262"/>
                  </a:lnTo>
                  <a:close/>
                  <a:moveTo>
                    <a:pt x="116491" y="209931"/>
                  </a:moveTo>
                  <a:cubicBezTo>
                    <a:pt x="127159" y="209931"/>
                    <a:pt x="137541" y="207740"/>
                    <a:pt x="147542" y="203454"/>
                  </a:cubicBezTo>
                  <a:cubicBezTo>
                    <a:pt x="157544" y="199168"/>
                    <a:pt x="166402" y="193072"/>
                    <a:pt x="174308" y="185166"/>
                  </a:cubicBezTo>
                  <a:cubicBezTo>
                    <a:pt x="182213" y="177260"/>
                    <a:pt x="188404" y="167926"/>
                    <a:pt x="193072" y="157067"/>
                  </a:cubicBezTo>
                  <a:cubicBezTo>
                    <a:pt x="197739" y="146209"/>
                    <a:pt x="200025" y="134112"/>
                    <a:pt x="200025" y="120682"/>
                  </a:cubicBezTo>
                  <a:lnTo>
                    <a:pt x="200025" y="119824"/>
                  </a:lnTo>
                  <a:cubicBezTo>
                    <a:pt x="200025" y="106394"/>
                    <a:pt x="197739" y="94297"/>
                    <a:pt x="193072" y="83439"/>
                  </a:cubicBezTo>
                  <a:cubicBezTo>
                    <a:pt x="188500" y="72580"/>
                    <a:pt x="182213" y="63246"/>
                    <a:pt x="174308" y="55531"/>
                  </a:cubicBezTo>
                  <a:cubicBezTo>
                    <a:pt x="166402" y="47815"/>
                    <a:pt x="157544" y="41815"/>
                    <a:pt x="147542" y="37433"/>
                  </a:cubicBezTo>
                  <a:cubicBezTo>
                    <a:pt x="137541" y="33147"/>
                    <a:pt x="127254" y="30956"/>
                    <a:pt x="116491" y="30956"/>
                  </a:cubicBezTo>
                  <a:cubicBezTo>
                    <a:pt x="105156" y="30956"/>
                    <a:pt x="94583" y="32956"/>
                    <a:pt x="84773" y="36957"/>
                  </a:cubicBezTo>
                  <a:cubicBezTo>
                    <a:pt x="74962" y="40957"/>
                    <a:pt x="66389" y="46767"/>
                    <a:pt x="59150" y="54388"/>
                  </a:cubicBezTo>
                  <a:cubicBezTo>
                    <a:pt x="51816" y="61913"/>
                    <a:pt x="46101" y="71247"/>
                    <a:pt x="41720" y="82296"/>
                  </a:cubicBezTo>
                  <a:cubicBezTo>
                    <a:pt x="37433" y="93250"/>
                    <a:pt x="35242" y="105823"/>
                    <a:pt x="35242" y="119824"/>
                  </a:cubicBezTo>
                  <a:lnTo>
                    <a:pt x="35242" y="120682"/>
                  </a:lnTo>
                  <a:cubicBezTo>
                    <a:pt x="35242" y="134398"/>
                    <a:pt x="37433" y="146780"/>
                    <a:pt x="41720" y="157734"/>
                  </a:cubicBezTo>
                  <a:cubicBezTo>
                    <a:pt x="46006" y="168783"/>
                    <a:pt x="51911" y="178117"/>
                    <a:pt x="59341" y="185833"/>
                  </a:cubicBezTo>
                  <a:cubicBezTo>
                    <a:pt x="66770" y="193548"/>
                    <a:pt x="75438" y="199549"/>
                    <a:pt x="85249" y="203740"/>
                  </a:cubicBezTo>
                  <a:cubicBezTo>
                    <a:pt x="95060" y="207931"/>
                    <a:pt x="105442" y="210026"/>
                    <a:pt x="116491" y="210026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29" name="Freeform: Shape 41">
              <a:extLst>
                <a:ext uri="{FF2B5EF4-FFF2-40B4-BE49-F238E27FC236}">
                  <a16:creationId xmlns:a16="http://schemas.microsoft.com/office/drawing/2014/main" id="{8DF55A34-BFE2-6F0F-C314-83B208AF43F1}"/>
                </a:ext>
              </a:extLst>
            </p:cNvPr>
            <p:cNvSpPr/>
            <p:nvPr/>
          </p:nvSpPr>
          <p:spPr>
            <a:xfrm>
              <a:off x="5829624" y="925297"/>
              <a:ext cx="50618" cy="59238"/>
            </a:xfrm>
            <a:custGeom>
              <a:avLst/>
              <a:gdLst>
                <a:gd name="connsiteX0" fmla="*/ 88392 w 201358"/>
                <a:gd name="connsiteY0" fmla="*/ 235648 h 235648"/>
                <a:gd name="connsiteX1" fmla="*/ 51149 w 201358"/>
                <a:gd name="connsiteY1" fmla="*/ 228981 h 235648"/>
                <a:gd name="connsiteX2" fmla="*/ 23432 w 201358"/>
                <a:gd name="connsiteY2" fmla="*/ 210026 h 235648"/>
                <a:gd name="connsiteX3" fmla="*/ 6001 w 201358"/>
                <a:gd name="connsiteY3" fmla="*/ 180784 h 235648"/>
                <a:gd name="connsiteX4" fmla="*/ 0 w 201358"/>
                <a:gd name="connsiteY4" fmla="*/ 143256 h 235648"/>
                <a:gd name="connsiteX5" fmla="*/ 0 w 201358"/>
                <a:gd name="connsiteY5" fmla="*/ 0 h 235648"/>
                <a:gd name="connsiteX6" fmla="*/ 34385 w 201358"/>
                <a:gd name="connsiteY6" fmla="*/ 0 h 235648"/>
                <a:gd name="connsiteX7" fmla="*/ 34385 w 201358"/>
                <a:gd name="connsiteY7" fmla="*/ 134493 h 235648"/>
                <a:gd name="connsiteX8" fmla="*/ 50959 w 201358"/>
                <a:gd name="connsiteY8" fmla="*/ 185261 h 235648"/>
                <a:gd name="connsiteX9" fmla="*/ 98298 w 201358"/>
                <a:gd name="connsiteY9" fmla="*/ 203930 h 235648"/>
                <a:gd name="connsiteX10" fmla="*/ 125730 w 201358"/>
                <a:gd name="connsiteY10" fmla="*/ 198787 h 235648"/>
                <a:gd name="connsiteX11" fmla="*/ 147638 w 201358"/>
                <a:gd name="connsiteY11" fmla="*/ 184118 h 235648"/>
                <a:gd name="connsiteX12" fmla="*/ 162116 w 201358"/>
                <a:gd name="connsiteY12" fmla="*/ 161163 h 235648"/>
                <a:gd name="connsiteX13" fmla="*/ 167450 w 201358"/>
                <a:gd name="connsiteY13" fmla="*/ 131826 h 235648"/>
                <a:gd name="connsiteX14" fmla="*/ 167450 w 201358"/>
                <a:gd name="connsiteY14" fmla="*/ 0 h 235648"/>
                <a:gd name="connsiteX15" fmla="*/ 201359 w 201358"/>
                <a:gd name="connsiteY15" fmla="*/ 0 h 235648"/>
                <a:gd name="connsiteX16" fmla="*/ 201359 w 201358"/>
                <a:gd name="connsiteY16" fmla="*/ 230791 h 235648"/>
                <a:gd name="connsiteX17" fmla="*/ 167450 w 201358"/>
                <a:gd name="connsiteY17" fmla="*/ 230791 h 235648"/>
                <a:gd name="connsiteX18" fmla="*/ 167450 w 201358"/>
                <a:gd name="connsiteY18" fmla="*/ 190595 h 235648"/>
                <a:gd name="connsiteX19" fmla="*/ 137065 w 201358"/>
                <a:gd name="connsiteY19" fmla="*/ 222504 h 235648"/>
                <a:gd name="connsiteX20" fmla="*/ 88392 w 201358"/>
                <a:gd name="connsiteY20" fmla="*/ 23564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1358" h="235648">
                  <a:moveTo>
                    <a:pt x="88392" y="235648"/>
                  </a:moveTo>
                  <a:cubicBezTo>
                    <a:pt x="74390" y="235648"/>
                    <a:pt x="62008" y="233363"/>
                    <a:pt x="51149" y="228981"/>
                  </a:cubicBezTo>
                  <a:cubicBezTo>
                    <a:pt x="40291" y="224504"/>
                    <a:pt x="31052" y="218218"/>
                    <a:pt x="23432" y="210026"/>
                  </a:cubicBezTo>
                  <a:cubicBezTo>
                    <a:pt x="15812" y="201834"/>
                    <a:pt x="10001" y="192119"/>
                    <a:pt x="6001" y="180784"/>
                  </a:cubicBezTo>
                  <a:cubicBezTo>
                    <a:pt x="2000" y="169450"/>
                    <a:pt x="0" y="156972"/>
                    <a:pt x="0" y="143256"/>
                  </a:cubicBezTo>
                  <a:lnTo>
                    <a:pt x="0" y="0"/>
                  </a:lnTo>
                  <a:lnTo>
                    <a:pt x="34385" y="0"/>
                  </a:lnTo>
                  <a:lnTo>
                    <a:pt x="34385" y="134493"/>
                  </a:lnTo>
                  <a:cubicBezTo>
                    <a:pt x="34385" y="155829"/>
                    <a:pt x="39910" y="172783"/>
                    <a:pt x="50959" y="185261"/>
                  </a:cubicBezTo>
                  <a:cubicBezTo>
                    <a:pt x="61913" y="197739"/>
                    <a:pt x="77724" y="203930"/>
                    <a:pt x="98298" y="203930"/>
                  </a:cubicBezTo>
                  <a:cubicBezTo>
                    <a:pt x="108109" y="203930"/>
                    <a:pt x="117253" y="202216"/>
                    <a:pt x="125730" y="198787"/>
                  </a:cubicBezTo>
                  <a:cubicBezTo>
                    <a:pt x="134207" y="195358"/>
                    <a:pt x="141446" y="190500"/>
                    <a:pt x="147638" y="184118"/>
                  </a:cubicBezTo>
                  <a:cubicBezTo>
                    <a:pt x="153734" y="177736"/>
                    <a:pt x="158591" y="170116"/>
                    <a:pt x="162116" y="161163"/>
                  </a:cubicBezTo>
                  <a:cubicBezTo>
                    <a:pt x="165735" y="152305"/>
                    <a:pt x="167450" y="142494"/>
                    <a:pt x="167450" y="131826"/>
                  </a:cubicBezTo>
                  <a:lnTo>
                    <a:pt x="167450" y="0"/>
                  </a:lnTo>
                  <a:lnTo>
                    <a:pt x="201359" y="0"/>
                  </a:lnTo>
                  <a:lnTo>
                    <a:pt x="201359" y="230791"/>
                  </a:lnTo>
                  <a:lnTo>
                    <a:pt x="167450" y="230791"/>
                  </a:lnTo>
                  <a:lnTo>
                    <a:pt x="167450" y="190595"/>
                  </a:lnTo>
                  <a:cubicBezTo>
                    <a:pt x="159734" y="203073"/>
                    <a:pt x="149543" y="213741"/>
                    <a:pt x="137065" y="222504"/>
                  </a:cubicBezTo>
                  <a:cubicBezTo>
                    <a:pt x="124587" y="231267"/>
                    <a:pt x="108395" y="235648"/>
                    <a:pt x="88392" y="23564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0" name="Freeform: Shape 42">
              <a:extLst>
                <a:ext uri="{FF2B5EF4-FFF2-40B4-BE49-F238E27FC236}">
                  <a16:creationId xmlns:a16="http://schemas.microsoft.com/office/drawing/2014/main" id="{CD175BBA-01E3-84D7-D076-145FBF03832E}"/>
                </a:ext>
              </a:extLst>
            </p:cNvPr>
            <p:cNvSpPr/>
            <p:nvPr/>
          </p:nvSpPr>
          <p:spPr>
            <a:xfrm>
              <a:off x="5896069" y="924028"/>
              <a:ext cx="54856" cy="60602"/>
            </a:xfrm>
            <a:custGeom>
              <a:avLst/>
              <a:gdLst>
                <a:gd name="connsiteX0" fmla="*/ 34766 w 218217"/>
                <a:gd name="connsiteY0" fmla="*/ 134398 h 241077"/>
                <a:gd name="connsiteX1" fmla="*/ 43720 w 218217"/>
                <a:gd name="connsiteY1" fmla="*/ 166973 h 241077"/>
                <a:gd name="connsiteX2" fmla="*/ 62008 w 218217"/>
                <a:gd name="connsiteY2" fmla="*/ 191071 h 241077"/>
                <a:gd name="connsiteX3" fmla="*/ 87059 w 218217"/>
                <a:gd name="connsiteY3" fmla="*/ 206026 h 241077"/>
                <a:gd name="connsiteX4" fmla="*/ 116110 w 218217"/>
                <a:gd name="connsiteY4" fmla="*/ 211169 h 241077"/>
                <a:gd name="connsiteX5" fmla="*/ 157353 w 218217"/>
                <a:gd name="connsiteY5" fmla="*/ 202216 h 241077"/>
                <a:gd name="connsiteX6" fmla="*/ 188786 w 218217"/>
                <a:gd name="connsiteY6" fmla="*/ 178594 h 241077"/>
                <a:gd name="connsiteX7" fmla="*/ 210217 w 218217"/>
                <a:gd name="connsiteY7" fmla="*/ 197834 h 241077"/>
                <a:gd name="connsiteX8" fmla="*/ 170497 w 218217"/>
                <a:gd name="connsiteY8" fmla="*/ 229267 h 241077"/>
                <a:gd name="connsiteX9" fmla="*/ 115157 w 218217"/>
                <a:gd name="connsiteY9" fmla="*/ 241078 h 241077"/>
                <a:gd name="connsiteX10" fmla="*/ 70485 w 218217"/>
                <a:gd name="connsiteY10" fmla="*/ 232410 h 241077"/>
                <a:gd name="connsiteX11" fmla="*/ 33909 w 218217"/>
                <a:gd name="connsiteY11" fmla="*/ 207835 h 241077"/>
                <a:gd name="connsiteX12" fmla="*/ 9144 w 218217"/>
                <a:gd name="connsiteY12" fmla="*/ 169640 h 241077"/>
                <a:gd name="connsiteX13" fmla="*/ 0 w 218217"/>
                <a:gd name="connsiteY13" fmla="*/ 120491 h 241077"/>
                <a:gd name="connsiteX14" fmla="*/ 8287 w 218217"/>
                <a:gd name="connsiteY14" fmla="*/ 73438 h 241077"/>
                <a:gd name="connsiteX15" fmla="*/ 31242 w 218217"/>
                <a:gd name="connsiteY15" fmla="*/ 35052 h 241077"/>
                <a:gd name="connsiteX16" fmla="*/ 66294 w 218217"/>
                <a:gd name="connsiteY16" fmla="*/ 9430 h 241077"/>
                <a:gd name="connsiteX17" fmla="*/ 110680 w 218217"/>
                <a:gd name="connsiteY17" fmla="*/ 0 h 241077"/>
                <a:gd name="connsiteX18" fmla="*/ 156210 w 218217"/>
                <a:gd name="connsiteY18" fmla="*/ 9620 h 241077"/>
                <a:gd name="connsiteX19" fmla="*/ 190119 w 218217"/>
                <a:gd name="connsiteY19" fmla="*/ 35719 h 241077"/>
                <a:gd name="connsiteX20" fmla="*/ 211074 w 218217"/>
                <a:gd name="connsiteY20" fmla="*/ 74581 h 241077"/>
                <a:gd name="connsiteX21" fmla="*/ 218218 w 218217"/>
                <a:gd name="connsiteY21" fmla="*/ 122301 h 241077"/>
                <a:gd name="connsiteX22" fmla="*/ 218218 w 218217"/>
                <a:gd name="connsiteY22" fmla="*/ 127444 h 241077"/>
                <a:gd name="connsiteX23" fmla="*/ 217742 w 218217"/>
                <a:gd name="connsiteY23" fmla="*/ 134398 h 241077"/>
                <a:gd name="connsiteX24" fmla="*/ 34766 w 218217"/>
                <a:gd name="connsiteY24" fmla="*/ 134398 h 241077"/>
                <a:gd name="connsiteX25" fmla="*/ 183356 w 218217"/>
                <a:gd name="connsiteY25" fmla="*/ 106299 h 241077"/>
                <a:gd name="connsiteX26" fmla="*/ 176689 w 218217"/>
                <a:gd name="connsiteY26" fmla="*/ 76771 h 241077"/>
                <a:gd name="connsiteX27" fmla="*/ 162211 w 218217"/>
                <a:gd name="connsiteY27" fmla="*/ 52101 h 241077"/>
                <a:gd name="connsiteX28" fmla="*/ 139922 w 218217"/>
                <a:gd name="connsiteY28" fmla="*/ 35242 h 241077"/>
                <a:gd name="connsiteX29" fmla="*/ 109823 w 218217"/>
                <a:gd name="connsiteY29" fmla="*/ 29051 h 241077"/>
                <a:gd name="connsiteX30" fmla="*/ 82105 w 218217"/>
                <a:gd name="connsiteY30" fmla="*/ 34766 h 241077"/>
                <a:gd name="connsiteX31" fmla="*/ 59341 w 218217"/>
                <a:gd name="connsiteY31" fmla="*/ 50959 h 241077"/>
                <a:gd name="connsiteX32" fmla="*/ 43053 w 218217"/>
                <a:gd name="connsiteY32" fmla="*/ 75628 h 241077"/>
                <a:gd name="connsiteX33" fmla="*/ 34766 w 218217"/>
                <a:gd name="connsiteY33" fmla="*/ 106204 h 241077"/>
                <a:gd name="connsiteX34" fmla="*/ 183356 w 218217"/>
                <a:gd name="connsiteY34" fmla="*/ 106204 h 24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8217" h="241077">
                  <a:moveTo>
                    <a:pt x="34766" y="134398"/>
                  </a:moveTo>
                  <a:cubicBezTo>
                    <a:pt x="35909" y="146590"/>
                    <a:pt x="38957" y="157448"/>
                    <a:pt x="43720" y="166973"/>
                  </a:cubicBezTo>
                  <a:cubicBezTo>
                    <a:pt x="48482" y="176498"/>
                    <a:pt x="54578" y="184499"/>
                    <a:pt x="62008" y="191071"/>
                  </a:cubicBezTo>
                  <a:cubicBezTo>
                    <a:pt x="69437" y="197644"/>
                    <a:pt x="77819" y="202597"/>
                    <a:pt x="87059" y="206026"/>
                  </a:cubicBezTo>
                  <a:cubicBezTo>
                    <a:pt x="96298" y="209455"/>
                    <a:pt x="105918" y="211169"/>
                    <a:pt x="116110" y="211169"/>
                  </a:cubicBezTo>
                  <a:cubicBezTo>
                    <a:pt x="132207" y="211169"/>
                    <a:pt x="145923" y="208216"/>
                    <a:pt x="157353" y="202216"/>
                  </a:cubicBezTo>
                  <a:cubicBezTo>
                    <a:pt x="168783" y="196310"/>
                    <a:pt x="179261" y="188404"/>
                    <a:pt x="188786" y="178594"/>
                  </a:cubicBezTo>
                  <a:lnTo>
                    <a:pt x="210217" y="197834"/>
                  </a:lnTo>
                  <a:cubicBezTo>
                    <a:pt x="198596" y="210979"/>
                    <a:pt x="185356" y="221361"/>
                    <a:pt x="170497" y="229267"/>
                  </a:cubicBezTo>
                  <a:cubicBezTo>
                    <a:pt x="155638" y="237172"/>
                    <a:pt x="137160" y="241078"/>
                    <a:pt x="115157" y="241078"/>
                  </a:cubicBezTo>
                  <a:cubicBezTo>
                    <a:pt x="99346" y="241078"/>
                    <a:pt x="84487" y="238220"/>
                    <a:pt x="70485" y="232410"/>
                  </a:cubicBezTo>
                  <a:cubicBezTo>
                    <a:pt x="56483" y="226600"/>
                    <a:pt x="44291" y="218408"/>
                    <a:pt x="33909" y="207835"/>
                  </a:cubicBezTo>
                  <a:cubicBezTo>
                    <a:pt x="23527" y="197263"/>
                    <a:pt x="15240" y="184594"/>
                    <a:pt x="9144" y="169640"/>
                  </a:cubicBezTo>
                  <a:cubicBezTo>
                    <a:pt x="3048" y="154781"/>
                    <a:pt x="0" y="138398"/>
                    <a:pt x="0" y="120491"/>
                  </a:cubicBezTo>
                  <a:cubicBezTo>
                    <a:pt x="0" y="103822"/>
                    <a:pt x="2762" y="88106"/>
                    <a:pt x="8287" y="73438"/>
                  </a:cubicBezTo>
                  <a:cubicBezTo>
                    <a:pt x="13811" y="58674"/>
                    <a:pt x="21431" y="45910"/>
                    <a:pt x="31242" y="35052"/>
                  </a:cubicBezTo>
                  <a:cubicBezTo>
                    <a:pt x="41053" y="24193"/>
                    <a:pt x="52769" y="15621"/>
                    <a:pt x="66294" y="9430"/>
                  </a:cubicBezTo>
                  <a:cubicBezTo>
                    <a:pt x="79820" y="3143"/>
                    <a:pt x="94583" y="0"/>
                    <a:pt x="110680" y="0"/>
                  </a:cubicBezTo>
                  <a:cubicBezTo>
                    <a:pt x="127635" y="0"/>
                    <a:pt x="142780" y="3238"/>
                    <a:pt x="156210" y="9620"/>
                  </a:cubicBezTo>
                  <a:cubicBezTo>
                    <a:pt x="169640" y="16002"/>
                    <a:pt x="180880" y="24765"/>
                    <a:pt x="190119" y="35719"/>
                  </a:cubicBezTo>
                  <a:cubicBezTo>
                    <a:pt x="199358" y="46767"/>
                    <a:pt x="206312" y="59722"/>
                    <a:pt x="211074" y="74581"/>
                  </a:cubicBezTo>
                  <a:cubicBezTo>
                    <a:pt x="215837" y="89440"/>
                    <a:pt x="218218" y="105346"/>
                    <a:pt x="218218" y="122301"/>
                  </a:cubicBezTo>
                  <a:lnTo>
                    <a:pt x="218218" y="127444"/>
                  </a:lnTo>
                  <a:cubicBezTo>
                    <a:pt x="218218" y="129445"/>
                    <a:pt x="218027" y="131731"/>
                    <a:pt x="217742" y="134398"/>
                  </a:cubicBezTo>
                  <a:lnTo>
                    <a:pt x="34766" y="134398"/>
                  </a:lnTo>
                  <a:close/>
                  <a:moveTo>
                    <a:pt x="183356" y="106299"/>
                  </a:moveTo>
                  <a:cubicBezTo>
                    <a:pt x="182499" y="95917"/>
                    <a:pt x="180213" y="86106"/>
                    <a:pt x="176689" y="76771"/>
                  </a:cubicBezTo>
                  <a:cubicBezTo>
                    <a:pt x="173069" y="67437"/>
                    <a:pt x="168307" y="59245"/>
                    <a:pt x="162211" y="52101"/>
                  </a:cubicBezTo>
                  <a:cubicBezTo>
                    <a:pt x="156115" y="44958"/>
                    <a:pt x="148685" y="39338"/>
                    <a:pt x="139922" y="35242"/>
                  </a:cubicBezTo>
                  <a:cubicBezTo>
                    <a:pt x="131159" y="31147"/>
                    <a:pt x="121063" y="29051"/>
                    <a:pt x="109823" y="29051"/>
                  </a:cubicBezTo>
                  <a:cubicBezTo>
                    <a:pt x="100013" y="29051"/>
                    <a:pt x="90773" y="30956"/>
                    <a:pt x="82105" y="34766"/>
                  </a:cubicBezTo>
                  <a:cubicBezTo>
                    <a:pt x="73438" y="38671"/>
                    <a:pt x="65913" y="44005"/>
                    <a:pt x="59341" y="50959"/>
                  </a:cubicBezTo>
                  <a:cubicBezTo>
                    <a:pt x="52769" y="57912"/>
                    <a:pt x="47339" y="66103"/>
                    <a:pt x="43053" y="75628"/>
                  </a:cubicBezTo>
                  <a:cubicBezTo>
                    <a:pt x="38767" y="85058"/>
                    <a:pt x="36004" y="95345"/>
                    <a:pt x="34766" y="106204"/>
                  </a:cubicBezTo>
                  <a:lnTo>
                    <a:pt x="183356" y="106204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1" name="Freeform: Shape 43">
              <a:extLst>
                <a:ext uri="{FF2B5EF4-FFF2-40B4-BE49-F238E27FC236}">
                  <a16:creationId xmlns:a16="http://schemas.microsoft.com/office/drawing/2014/main" id="{99966320-6FC6-4E19-CFE2-95A2EA225E0D}"/>
                </a:ext>
              </a:extLst>
            </p:cNvPr>
            <p:cNvSpPr/>
            <p:nvPr/>
          </p:nvSpPr>
          <p:spPr>
            <a:xfrm>
              <a:off x="5994910" y="924268"/>
              <a:ext cx="44680" cy="60195"/>
            </a:xfrm>
            <a:custGeom>
              <a:avLst/>
              <a:gdLst>
                <a:gd name="connsiteX0" fmla="*/ 95536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1 w 177736"/>
                <a:gd name="connsiteY3" fmla="*/ 180785 h 239458"/>
                <a:gd name="connsiteX4" fmla="*/ 56483 w 177736"/>
                <a:gd name="connsiteY4" fmla="*/ 202692 h 239458"/>
                <a:gd name="connsiteX5" fmla="*/ 97346 w 177736"/>
                <a:gd name="connsiteY5" fmla="*/ 210217 h 239458"/>
                <a:gd name="connsiteX6" fmla="*/ 131731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730 w 177736"/>
                <a:gd name="connsiteY10" fmla="*/ 147066 h 239458"/>
                <a:gd name="connsiteX11" fmla="*/ 109252 w 177736"/>
                <a:gd name="connsiteY11" fmla="*/ 138779 h 239458"/>
                <a:gd name="connsiteX12" fmla="*/ 87630 w 177736"/>
                <a:gd name="connsiteY12" fmla="*/ 132112 h 239458"/>
                <a:gd name="connsiteX13" fmla="*/ 60674 w 177736"/>
                <a:gd name="connsiteY13" fmla="*/ 123444 h 239458"/>
                <a:gd name="connsiteX14" fmla="*/ 36100 w 177736"/>
                <a:gd name="connsiteY14" fmla="*/ 111633 h 239458"/>
                <a:gd name="connsiteX15" fmla="*/ 18193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60 w 177736"/>
                <a:gd name="connsiteY22" fmla="*/ 6953 h 239458"/>
                <a:gd name="connsiteX23" fmla="*/ 172879 w 177736"/>
                <a:gd name="connsiteY23" fmla="*/ 25527 h 239458"/>
                <a:gd name="connsiteX24" fmla="*/ 157258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4 w 177736"/>
                <a:gd name="connsiteY32" fmla="*/ 96203 h 239458"/>
                <a:gd name="connsiteX33" fmla="*/ 103632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60 w 177736"/>
                <a:gd name="connsiteY36" fmla="*/ 143066 h 239458"/>
                <a:gd name="connsiteX37" fmla="*/ 177737 w 177736"/>
                <a:gd name="connsiteY37" fmla="*/ 169450 h 239458"/>
                <a:gd name="connsiteX38" fmla="*/ 177737 w 177736"/>
                <a:gd name="connsiteY38" fmla="*/ 170307 h 239458"/>
                <a:gd name="connsiteX39" fmla="*/ 171260 w 177736"/>
                <a:gd name="connsiteY39" fmla="*/ 199549 h 239458"/>
                <a:gd name="connsiteX40" fmla="*/ 153829 w 177736"/>
                <a:gd name="connsiteY40" fmla="*/ 221171 h 239458"/>
                <a:gd name="connsiteX41" fmla="*/ 127921 w 177736"/>
                <a:gd name="connsiteY41" fmla="*/ 234791 h 239458"/>
                <a:gd name="connsiteX42" fmla="*/ 95536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6" y="239268"/>
                  </a:moveTo>
                  <a:cubicBezTo>
                    <a:pt x="78867" y="239268"/>
                    <a:pt x="62008" y="236220"/>
                    <a:pt x="45053" y="230124"/>
                  </a:cubicBezTo>
                  <a:cubicBezTo>
                    <a:pt x="28099" y="224028"/>
                    <a:pt x="13049" y="215741"/>
                    <a:pt x="0" y="205359"/>
                  </a:cubicBezTo>
                  <a:lnTo>
                    <a:pt x="17431" y="180785"/>
                  </a:lnTo>
                  <a:cubicBezTo>
                    <a:pt x="29909" y="190310"/>
                    <a:pt x="42958" y="197644"/>
                    <a:pt x="56483" y="202692"/>
                  </a:cubicBezTo>
                  <a:cubicBezTo>
                    <a:pt x="70009" y="207740"/>
                    <a:pt x="83629" y="210217"/>
                    <a:pt x="97346" y="210217"/>
                  </a:cubicBezTo>
                  <a:cubicBezTo>
                    <a:pt x="111062" y="210217"/>
                    <a:pt x="122777" y="206978"/>
                    <a:pt x="131731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637" y="162211"/>
                    <a:pt x="140494" y="158020"/>
                  </a:cubicBezTo>
                  <a:cubicBezTo>
                    <a:pt x="137351" y="153829"/>
                    <a:pt x="133160" y="150209"/>
                    <a:pt x="127730" y="147066"/>
                  </a:cubicBezTo>
                  <a:cubicBezTo>
                    <a:pt x="122396" y="143923"/>
                    <a:pt x="116205" y="141161"/>
                    <a:pt x="109252" y="138779"/>
                  </a:cubicBezTo>
                  <a:cubicBezTo>
                    <a:pt x="102299" y="136398"/>
                    <a:pt x="95060" y="134207"/>
                    <a:pt x="87630" y="132112"/>
                  </a:cubicBezTo>
                  <a:cubicBezTo>
                    <a:pt x="78677" y="129445"/>
                    <a:pt x="69723" y="126492"/>
                    <a:pt x="60674" y="123444"/>
                  </a:cubicBezTo>
                  <a:cubicBezTo>
                    <a:pt x="51626" y="120301"/>
                    <a:pt x="43434" y="116396"/>
                    <a:pt x="36100" y="111633"/>
                  </a:cubicBezTo>
                  <a:cubicBezTo>
                    <a:pt x="28766" y="106871"/>
                    <a:pt x="22860" y="100870"/>
                    <a:pt x="18193" y="93726"/>
                  </a:cubicBezTo>
                  <a:cubicBezTo>
                    <a:pt x="13621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5" y="47149"/>
                    <a:pt x="17050" y="39053"/>
                  </a:cubicBezTo>
                  <a:cubicBezTo>
                    <a:pt x="20860" y="30861"/>
                    <a:pt x="26289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9" y="1524"/>
                    <a:pt x="78581" y="0"/>
                    <a:pt x="89821" y="0"/>
                  </a:cubicBezTo>
                  <a:cubicBezTo>
                    <a:pt x="104108" y="0"/>
                    <a:pt x="118491" y="2286"/>
                    <a:pt x="133160" y="6953"/>
                  </a:cubicBezTo>
                  <a:cubicBezTo>
                    <a:pt x="147733" y="11621"/>
                    <a:pt x="160972" y="17717"/>
                    <a:pt x="172879" y="25527"/>
                  </a:cubicBezTo>
                  <a:lnTo>
                    <a:pt x="157258" y="51435"/>
                  </a:lnTo>
                  <a:cubicBezTo>
                    <a:pt x="146495" y="44577"/>
                    <a:pt x="135350" y="39148"/>
                    <a:pt x="123539" y="35147"/>
                  </a:cubicBezTo>
                  <a:cubicBezTo>
                    <a:pt x="111824" y="31147"/>
                    <a:pt x="100298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387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1" y="73628"/>
                    <a:pt x="49244" y="77724"/>
                  </a:cubicBezTo>
                  <a:cubicBezTo>
                    <a:pt x="52483" y="81725"/>
                    <a:pt x="56960" y="85249"/>
                    <a:pt x="62389" y="88202"/>
                  </a:cubicBezTo>
                  <a:cubicBezTo>
                    <a:pt x="67913" y="91154"/>
                    <a:pt x="74200" y="93821"/>
                    <a:pt x="81344" y="96203"/>
                  </a:cubicBezTo>
                  <a:cubicBezTo>
                    <a:pt x="88487" y="98584"/>
                    <a:pt x="95917" y="100965"/>
                    <a:pt x="103632" y="103346"/>
                  </a:cubicBezTo>
                  <a:cubicBezTo>
                    <a:pt x="112586" y="106013"/>
                    <a:pt x="121444" y="108966"/>
                    <a:pt x="130207" y="112300"/>
                  </a:cubicBezTo>
                  <a:cubicBezTo>
                    <a:pt x="138970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60" y="143066"/>
                  </a:cubicBezTo>
                  <a:cubicBezTo>
                    <a:pt x="175546" y="150209"/>
                    <a:pt x="177737" y="158972"/>
                    <a:pt x="177737" y="169450"/>
                  </a:cubicBezTo>
                  <a:lnTo>
                    <a:pt x="177737" y="170307"/>
                  </a:lnTo>
                  <a:cubicBezTo>
                    <a:pt x="177737" y="181356"/>
                    <a:pt x="175546" y="191071"/>
                    <a:pt x="171260" y="199549"/>
                  </a:cubicBezTo>
                  <a:cubicBezTo>
                    <a:pt x="166973" y="208026"/>
                    <a:pt x="161163" y="215265"/>
                    <a:pt x="153829" y="221171"/>
                  </a:cubicBezTo>
                  <a:cubicBezTo>
                    <a:pt x="146495" y="227171"/>
                    <a:pt x="137922" y="231648"/>
                    <a:pt x="127921" y="234791"/>
                  </a:cubicBezTo>
                  <a:cubicBezTo>
                    <a:pt x="117920" y="237935"/>
                    <a:pt x="107156" y="239459"/>
                    <a:pt x="95536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2" name="Freeform: Shape 44">
              <a:extLst>
                <a:ext uri="{FF2B5EF4-FFF2-40B4-BE49-F238E27FC236}">
                  <a16:creationId xmlns:a16="http://schemas.microsoft.com/office/drawing/2014/main" id="{FE055C87-81E5-BEB7-B864-A1ACC633FE57}"/>
                </a:ext>
              </a:extLst>
            </p:cNvPr>
            <p:cNvSpPr/>
            <p:nvPr/>
          </p:nvSpPr>
          <p:spPr>
            <a:xfrm>
              <a:off x="605122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4 w 202977"/>
                <a:gd name="connsiteY30" fmla="*/ 174593 h 239267"/>
                <a:gd name="connsiteX31" fmla="*/ 169735 w 202977"/>
                <a:gd name="connsiteY31" fmla="*/ 149447 h 239267"/>
                <a:gd name="connsiteX32" fmla="*/ 169735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0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0" y="90964"/>
                    <a:pt x="98584" y="90964"/>
                  </a:cubicBezTo>
                  <a:cubicBezTo>
                    <a:pt x="113157" y="90964"/>
                    <a:pt x="126301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1" y="33147"/>
                    <a:pt x="63436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295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8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09" y="188595"/>
                    <a:pt x="159734" y="182118"/>
                    <a:pt x="163734" y="174593"/>
                  </a:cubicBezTo>
                  <a:cubicBezTo>
                    <a:pt x="167735" y="167068"/>
                    <a:pt x="169735" y="158687"/>
                    <a:pt x="169735" y="149447"/>
                  </a:cubicBezTo>
                  <a:lnTo>
                    <a:pt x="169735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872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3" name="Freeform: Shape 45">
              <a:extLst>
                <a:ext uri="{FF2B5EF4-FFF2-40B4-BE49-F238E27FC236}">
                  <a16:creationId xmlns:a16="http://schemas.microsoft.com/office/drawing/2014/main" id="{3AB8F5DE-27B2-4F41-1E49-128BD39D943D}"/>
                </a:ext>
              </a:extLst>
            </p:cNvPr>
            <p:cNvSpPr/>
            <p:nvPr/>
          </p:nvSpPr>
          <p:spPr>
            <a:xfrm>
              <a:off x="6121359" y="901377"/>
              <a:ext cx="8644" cy="81913"/>
            </a:xfrm>
            <a:custGeom>
              <a:avLst/>
              <a:gdLst>
                <a:gd name="connsiteX0" fmla="*/ 0 w 34385"/>
                <a:gd name="connsiteY0" fmla="*/ 0 h 325850"/>
                <a:gd name="connsiteX1" fmla="*/ 34385 w 34385"/>
                <a:gd name="connsiteY1" fmla="*/ 0 h 325850"/>
                <a:gd name="connsiteX2" fmla="*/ 34385 w 34385"/>
                <a:gd name="connsiteY2" fmla="*/ 325850 h 325850"/>
                <a:gd name="connsiteX3" fmla="*/ 0 w 34385"/>
                <a:gd name="connsiteY3" fmla="*/ 325850 h 325850"/>
                <a:gd name="connsiteX4" fmla="*/ 0 w 34385"/>
                <a:gd name="connsiteY4" fmla="*/ 0 h 32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25850">
                  <a:moveTo>
                    <a:pt x="0" y="0"/>
                  </a:moveTo>
                  <a:lnTo>
                    <a:pt x="34385" y="0"/>
                  </a:lnTo>
                  <a:lnTo>
                    <a:pt x="34385" y="325850"/>
                  </a:lnTo>
                  <a:lnTo>
                    <a:pt x="0" y="325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4" name="Freeform: Shape 46">
              <a:extLst>
                <a:ext uri="{FF2B5EF4-FFF2-40B4-BE49-F238E27FC236}">
                  <a16:creationId xmlns:a16="http://schemas.microsoft.com/office/drawing/2014/main" id="{10CB7A1A-8129-331C-E890-D4DFCA5D662B}"/>
                </a:ext>
              </a:extLst>
            </p:cNvPr>
            <p:cNvSpPr/>
            <p:nvPr/>
          </p:nvSpPr>
          <p:spPr>
            <a:xfrm>
              <a:off x="6144346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4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4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5" name="Freeform: Shape 47">
              <a:extLst>
                <a:ext uri="{FF2B5EF4-FFF2-40B4-BE49-F238E27FC236}">
                  <a16:creationId xmlns:a16="http://schemas.microsoft.com/office/drawing/2014/main" id="{984EF242-60F5-2150-6A32-7898F44BF421}"/>
                </a:ext>
              </a:extLst>
            </p:cNvPr>
            <p:cNvSpPr/>
            <p:nvPr/>
          </p:nvSpPr>
          <p:spPr>
            <a:xfrm>
              <a:off x="6211557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7 w 202977"/>
                <a:gd name="connsiteY15" fmla="*/ 36100 h 239267"/>
                <a:gd name="connsiteX16" fmla="*/ 30671 w 202977"/>
                <a:gd name="connsiteY16" fmla="*/ 48196 h 239267"/>
                <a:gd name="connsiteX17" fmla="*/ 20383 w 202977"/>
                <a:gd name="connsiteY17" fmla="*/ 19907 h 239267"/>
                <a:gd name="connsiteX18" fmla="*/ 59246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1 w 202977"/>
                <a:gd name="connsiteY26" fmla="*/ 239173 h 239267"/>
                <a:gd name="connsiteX27" fmla="*/ 93154 w 202977"/>
                <a:gd name="connsiteY27" fmla="*/ 211169 h 239267"/>
                <a:gd name="connsiteX28" fmla="*/ 122968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338 w 202977"/>
                <a:gd name="connsiteY36" fmla="*/ 164497 h 239267"/>
                <a:gd name="connsiteX37" fmla="*/ 35338 w 202977"/>
                <a:gd name="connsiteY37" fmla="*/ 165449 h 239267"/>
                <a:gd name="connsiteX38" fmla="*/ 40005 w 202977"/>
                <a:gd name="connsiteY38" fmla="*/ 184785 h 239267"/>
                <a:gd name="connsiteX39" fmla="*/ 52673 w 202977"/>
                <a:gd name="connsiteY39" fmla="*/ 199263 h 239267"/>
                <a:gd name="connsiteX40" fmla="*/ 71152 w 202977"/>
                <a:gd name="connsiteY40" fmla="*/ 208121 h 239267"/>
                <a:gd name="connsiteX41" fmla="*/ 93154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438" y="239268"/>
                    <a:pt x="64961" y="237744"/>
                    <a:pt x="54483" y="234791"/>
                  </a:cubicBezTo>
                  <a:cubicBezTo>
                    <a:pt x="44101" y="231838"/>
                    <a:pt x="34862" y="227266"/>
                    <a:pt x="26765" y="221171"/>
                  </a:cubicBezTo>
                  <a:cubicBezTo>
                    <a:pt x="18764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771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9" y="95440"/>
                    <a:pt x="158687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491" y="31623"/>
                    <a:pt x="100679" y="31623"/>
                  </a:cubicBezTo>
                  <a:cubicBezTo>
                    <a:pt x="86963" y="31623"/>
                    <a:pt x="74581" y="33147"/>
                    <a:pt x="63437" y="36100"/>
                  </a:cubicBezTo>
                  <a:cubicBezTo>
                    <a:pt x="52292" y="39053"/>
                    <a:pt x="41338" y="43053"/>
                    <a:pt x="30671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6" y="5429"/>
                  </a:cubicBezTo>
                  <a:cubicBezTo>
                    <a:pt x="72390" y="1810"/>
                    <a:pt x="87344" y="0"/>
                    <a:pt x="104299" y="0"/>
                  </a:cubicBezTo>
                  <a:cubicBezTo>
                    <a:pt x="137065" y="0"/>
                    <a:pt x="161925" y="8477"/>
                    <a:pt x="178879" y="25432"/>
                  </a:cubicBezTo>
                  <a:cubicBezTo>
                    <a:pt x="194977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1068" y="210312"/>
                    <a:pt x="150209" y="219456"/>
                    <a:pt x="136684" y="227362"/>
                  </a:cubicBezTo>
                  <a:cubicBezTo>
                    <a:pt x="123158" y="235267"/>
                    <a:pt x="106204" y="239173"/>
                    <a:pt x="86011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824" y="209740"/>
                    <a:pt x="122968" y="206788"/>
                  </a:cubicBezTo>
                  <a:cubicBezTo>
                    <a:pt x="132112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5" y="119348"/>
                    <a:pt x="116777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338" y="150590"/>
                    <a:pt x="35338" y="164497"/>
                  </a:cubicBezTo>
                  <a:lnTo>
                    <a:pt x="35338" y="165449"/>
                  </a:lnTo>
                  <a:cubicBezTo>
                    <a:pt x="35338" y="172498"/>
                    <a:pt x="36862" y="178975"/>
                    <a:pt x="40005" y="184785"/>
                  </a:cubicBezTo>
                  <a:cubicBezTo>
                    <a:pt x="43148" y="190500"/>
                    <a:pt x="47339" y="195358"/>
                    <a:pt x="52673" y="199263"/>
                  </a:cubicBezTo>
                  <a:cubicBezTo>
                    <a:pt x="58007" y="203073"/>
                    <a:pt x="64198" y="206026"/>
                    <a:pt x="71152" y="208121"/>
                  </a:cubicBezTo>
                  <a:cubicBezTo>
                    <a:pt x="78105" y="210217"/>
                    <a:pt x="85439" y="211169"/>
                    <a:pt x="93154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6" name="Freeform: Shape 48">
              <a:extLst>
                <a:ext uri="{FF2B5EF4-FFF2-40B4-BE49-F238E27FC236}">
                  <a16:creationId xmlns:a16="http://schemas.microsoft.com/office/drawing/2014/main" id="{903FABFE-0961-DE48-1CBA-4F4F0A49FCF3}"/>
                </a:ext>
              </a:extLst>
            </p:cNvPr>
            <p:cNvSpPr/>
            <p:nvPr/>
          </p:nvSpPr>
          <p:spPr>
            <a:xfrm>
              <a:off x="6280899" y="923980"/>
              <a:ext cx="87995" cy="59238"/>
            </a:xfrm>
            <a:custGeom>
              <a:avLst/>
              <a:gdLst>
                <a:gd name="connsiteX0" fmla="*/ 0 w 350043"/>
                <a:gd name="connsiteY0" fmla="*/ 5144 h 235648"/>
                <a:gd name="connsiteX1" fmla="*/ 34385 w 350043"/>
                <a:gd name="connsiteY1" fmla="*/ 5144 h 235648"/>
                <a:gd name="connsiteX2" fmla="*/ 34385 w 350043"/>
                <a:gd name="connsiteY2" fmla="*/ 44005 h 235648"/>
                <a:gd name="connsiteX3" fmla="*/ 47149 w 350043"/>
                <a:gd name="connsiteY3" fmla="*/ 27432 h 235648"/>
                <a:gd name="connsiteX4" fmla="*/ 62960 w 350043"/>
                <a:gd name="connsiteY4" fmla="*/ 13335 h 235648"/>
                <a:gd name="connsiteX5" fmla="*/ 83058 w 350043"/>
                <a:gd name="connsiteY5" fmla="*/ 3715 h 235648"/>
                <a:gd name="connsiteX6" fmla="*/ 108966 w 350043"/>
                <a:gd name="connsiteY6" fmla="*/ 95 h 235648"/>
                <a:gd name="connsiteX7" fmla="*/ 155448 w 350043"/>
                <a:gd name="connsiteY7" fmla="*/ 13240 h 235648"/>
                <a:gd name="connsiteX8" fmla="*/ 183166 w 350043"/>
                <a:gd name="connsiteY8" fmla="*/ 46006 h 235648"/>
                <a:gd name="connsiteX9" fmla="*/ 197168 w 350043"/>
                <a:gd name="connsiteY9" fmla="*/ 28194 h 235648"/>
                <a:gd name="connsiteX10" fmla="*/ 214789 w 350043"/>
                <a:gd name="connsiteY10" fmla="*/ 13430 h 235648"/>
                <a:gd name="connsiteX11" fmla="*/ 236887 w 350043"/>
                <a:gd name="connsiteY11" fmla="*/ 3620 h 235648"/>
                <a:gd name="connsiteX12" fmla="*/ 264319 w 350043"/>
                <a:gd name="connsiteY12" fmla="*/ 0 h 235648"/>
                <a:gd name="connsiteX13" fmla="*/ 327279 w 350043"/>
                <a:gd name="connsiteY13" fmla="*/ 24765 h 235648"/>
                <a:gd name="connsiteX14" fmla="*/ 350044 w 350043"/>
                <a:gd name="connsiteY14" fmla="*/ 92773 h 235648"/>
                <a:gd name="connsiteX15" fmla="*/ 350044 w 350043"/>
                <a:gd name="connsiteY15" fmla="*/ 235648 h 235648"/>
                <a:gd name="connsiteX16" fmla="*/ 315659 w 350043"/>
                <a:gd name="connsiteY16" fmla="*/ 235648 h 235648"/>
                <a:gd name="connsiteX17" fmla="*/ 315659 w 350043"/>
                <a:gd name="connsiteY17" fmla="*/ 101155 h 235648"/>
                <a:gd name="connsiteX18" fmla="*/ 299847 w 350043"/>
                <a:gd name="connsiteY18" fmla="*/ 49721 h 235648"/>
                <a:gd name="connsiteX19" fmla="*/ 255937 w 350043"/>
                <a:gd name="connsiteY19" fmla="*/ 31718 h 235648"/>
                <a:gd name="connsiteX20" fmla="*/ 231362 w 350043"/>
                <a:gd name="connsiteY20" fmla="*/ 36386 h 235648"/>
                <a:gd name="connsiteX21" fmla="*/ 211074 w 350043"/>
                <a:gd name="connsiteY21" fmla="*/ 50197 h 235648"/>
                <a:gd name="connsiteX22" fmla="*/ 197263 w 350043"/>
                <a:gd name="connsiteY22" fmla="*/ 72676 h 235648"/>
                <a:gd name="connsiteX23" fmla="*/ 192119 w 350043"/>
                <a:gd name="connsiteY23" fmla="*/ 102965 h 235648"/>
                <a:gd name="connsiteX24" fmla="*/ 192119 w 350043"/>
                <a:gd name="connsiteY24" fmla="*/ 235648 h 235648"/>
                <a:gd name="connsiteX25" fmla="*/ 158210 w 350043"/>
                <a:gd name="connsiteY25" fmla="*/ 235648 h 235648"/>
                <a:gd name="connsiteX26" fmla="*/ 158210 w 350043"/>
                <a:gd name="connsiteY26" fmla="*/ 100298 h 235648"/>
                <a:gd name="connsiteX27" fmla="*/ 142399 w 350043"/>
                <a:gd name="connsiteY27" fmla="*/ 49721 h 235648"/>
                <a:gd name="connsiteX28" fmla="*/ 98870 w 350043"/>
                <a:gd name="connsiteY28" fmla="*/ 31718 h 235648"/>
                <a:gd name="connsiteX29" fmla="*/ 73438 w 350043"/>
                <a:gd name="connsiteY29" fmla="*/ 37052 h 235648"/>
                <a:gd name="connsiteX30" fmla="*/ 53150 w 350043"/>
                <a:gd name="connsiteY30" fmla="*/ 52197 h 235648"/>
                <a:gd name="connsiteX31" fmla="*/ 39529 w 350043"/>
                <a:gd name="connsiteY31" fmla="*/ 75152 h 235648"/>
                <a:gd name="connsiteX32" fmla="*/ 34576 w 350043"/>
                <a:gd name="connsiteY32" fmla="*/ 104299 h 235648"/>
                <a:gd name="connsiteX33" fmla="*/ 34576 w 350043"/>
                <a:gd name="connsiteY33" fmla="*/ 235648 h 235648"/>
                <a:gd name="connsiteX34" fmla="*/ 190 w 350043"/>
                <a:gd name="connsiteY34" fmla="*/ 235648 h 235648"/>
                <a:gd name="connsiteX35" fmla="*/ 190 w 350043"/>
                <a:gd name="connsiteY35" fmla="*/ 4858 h 23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43" h="235648">
                  <a:moveTo>
                    <a:pt x="0" y="5144"/>
                  </a:moveTo>
                  <a:lnTo>
                    <a:pt x="34385" y="5144"/>
                  </a:lnTo>
                  <a:lnTo>
                    <a:pt x="34385" y="44005"/>
                  </a:lnTo>
                  <a:cubicBezTo>
                    <a:pt x="38290" y="38386"/>
                    <a:pt x="42481" y="32861"/>
                    <a:pt x="47149" y="27432"/>
                  </a:cubicBezTo>
                  <a:cubicBezTo>
                    <a:pt x="51721" y="22098"/>
                    <a:pt x="57055" y="17431"/>
                    <a:pt x="62960" y="13335"/>
                  </a:cubicBezTo>
                  <a:cubicBezTo>
                    <a:pt x="68866" y="9335"/>
                    <a:pt x="75629" y="6096"/>
                    <a:pt x="83058" y="3715"/>
                  </a:cubicBezTo>
                  <a:cubicBezTo>
                    <a:pt x="90488" y="1334"/>
                    <a:pt x="99155" y="95"/>
                    <a:pt x="108966" y="95"/>
                  </a:cubicBezTo>
                  <a:cubicBezTo>
                    <a:pt x="127730" y="95"/>
                    <a:pt x="143161" y="4477"/>
                    <a:pt x="155448" y="13240"/>
                  </a:cubicBezTo>
                  <a:cubicBezTo>
                    <a:pt x="167640" y="22003"/>
                    <a:pt x="176879" y="32956"/>
                    <a:pt x="183166" y="46006"/>
                  </a:cubicBezTo>
                  <a:cubicBezTo>
                    <a:pt x="187357" y="39719"/>
                    <a:pt x="192024" y="33814"/>
                    <a:pt x="197168" y="28194"/>
                  </a:cubicBezTo>
                  <a:cubicBezTo>
                    <a:pt x="202406" y="22574"/>
                    <a:pt x="208217" y="17621"/>
                    <a:pt x="214789" y="13430"/>
                  </a:cubicBezTo>
                  <a:cubicBezTo>
                    <a:pt x="221361" y="9239"/>
                    <a:pt x="228695" y="6001"/>
                    <a:pt x="236887" y="3620"/>
                  </a:cubicBezTo>
                  <a:cubicBezTo>
                    <a:pt x="245078" y="1238"/>
                    <a:pt x="254222" y="0"/>
                    <a:pt x="264319" y="0"/>
                  </a:cubicBezTo>
                  <a:cubicBezTo>
                    <a:pt x="291084" y="0"/>
                    <a:pt x="312039" y="8287"/>
                    <a:pt x="327279" y="24765"/>
                  </a:cubicBezTo>
                  <a:cubicBezTo>
                    <a:pt x="342519" y="41243"/>
                    <a:pt x="350044" y="63913"/>
                    <a:pt x="350044" y="92773"/>
                  </a:cubicBezTo>
                  <a:lnTo>
                    <a:pt x="350044" y="235648"/>
                  </a:lnTo>
                  <a:lnTo>
                    <a:pt x="315659" y="235648"/>
                  </a:lnTo>
                  <a:lnTo>
                    <a:pt x="315659" y="101155"/>
                  </a:lnTo>
                  <a:cubicBezTo>
                    <a:pt x="315659" y="78867"/>
                    <a:pt x="310420" y="61722"/>
                    <a:pt x="299847" y="49721"/>
                  </a:cubicBezTo>
                  <a:cubicBezTo>
                    <a:pt x="289274" y="37719"/>
                    <a:pt x="274606" y="31718"/>
                    <a:pt x="255937" y="31718"/>
                  </a:cubicBezTo>
                  <a:cubicBezTo>
                    <a:pt x="247269" y="31718"/>
                    <a:pt x="239078" y="33242"/>
                    <a:pt x="231362" y="36386"/>
                  </a:cubicBezTo>
                  <a:cubicBezTo>
                    <a:pt x="223647" y="39529"/>
                    <a:pt x="216884" y="44101"/>
                    <a:pt x="211074" y="50197"/>
                  </a:cubicBezTo>
                  <a:cubicBezTo>
                    <a:pt x="205264" y="56293"/>
                    <a:pt x="200692" y="63818"/>
                    <a:pt x="197263" y="72676"/>
                  </a:cubicBezTo>
                  <a:cubicBezTo>
                    <a:pt x="193834" y="81629"/>
                    <a:pt x="192119" y="91726"/>
                    <a:pt x="192119" y="102965"/>
                  </a:cubicBezTo>
                  <a:lnTo>
                    <a:pt x="192119" y="235648"/>
                  </a:lnTo>
                  <a:lnTo>
                    <a:pt x="158210" y="235648"/>
                  </a:lnTo>
                  <a:lnTo>
                    <a:pt x="158210" y="100298"/>
                  </a:lnTo>
                  <a:cubicBezTo>
                    <a:pt x="158210" y="78677"/>
                    <a:pt x="152971" y="61817"/>
                    <a:pt x="142399" y="49721"/>
                  </a:cubicBezTo>
                  <a:cubicBezTo>
                    <a:pt x="131826" y="37719"/>
                    <a:pt x="117348" y="31718"/>
                    <a:pt x="98870" y="31718"/>
                  </a:cubicBezTo>
                  <a:cubicBezTo>
                    <a:pt x="89630" y="31718"/>
                    <a:pt x="81153" y="33528"/>
                    <a:pt x="73438" y="37052"/>
                  </a:cubicBezTo>
                  <a:cubicBezTo>
                    <a:pt x="65722" y="40672"/>
                    <a:pt x="58960" y="45720"/>
                    <a:pt x="53150" y="52197"/>
                  </a:cubicBezTo>
                  <a:cubicBezTo>
                    <a:pt x="47339" y="58769"/>
                    <a:pt x="42767" y="66389"/>
                    <a:pt x="39529" y="75152"/>
                  </a:cubicBezTo>
                  <a:cubicBezTo>
                    <a:pt x="36290" y="83915"/>
                    <a:pt x="34576" y="93631"/>
                    <a:pt x="34576" y="104299"/>
                  </a:cubicBezTo>
                  <a:lnTo>
                    <a:pt x="34576" y="235648"/>
                  </a:lnTo>
                  <a:lnTo>
                    <a:pt x="190" y="235648"/>
                  </a:lnTo>
                  <a:lnTo>
                    <a:pt x="190" y="4858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7" name="Freeform: Shape 49">
              <a:extLst>
                <a:ext uri="{FF2B5EF4-FFF2-40B4-BE49-F238E27FC236}">
                  <a16:creationId xmlns:a16="http://schemas.microsoft.com/office/drawing/2014/main" id="{26D25639-FFE3-9238-7D13-2A55ADD4E1D0}"/>
                </a:ext>
              </a:extLst>
            </p:cNvPr>
            <p:cNvSpPr/>
            <p:nvPr/>
          </p:nvSpPr>
          <p:spPr>
            <a:xfrm>
              <a:off x="6415537" y="925273"/>
              <a:ext cx="58016" cy="58448"/>
            </a:xfrm>
            <a:custGeom>
              <a:avLst/>
              <a:gdLst>
                <a:gd name="connsiteX0" fmla="*/ 95 w 230790"/>
                <a:gd name="connsiteY0" fmla="*/ 0 h 232505"/>
                <a:gd name="connsiteX1" fmla="*/ 38005 w 230790"/>
                <a:gd name="connsiteY1" fmla="*/ 0 h 232505"/>
                <a:gd name="connsiteX2" fmla="*/ 115633 w 230790"/>
                <a:gd name="connsiteY2" fmla="*/ 191453 h 232505"/>
                <a:gd name="connsiteX3" fmla="*/ 193738 w 230790"/>
                <a:gd name="connsiteY3" fmla="*/ 0 h 232505"/>
                <a:gd name="connsiteX4" fmla="*/ 230791 w 230790"/>
                <a:gd name="connsiteY4" fmla="*/ 0 h 232505"/>
                <a:gd name="connsiteX5" fmla="*/ 130397 w 230790"/>
                <a:gd name="connsiteY5" fmla="*/ 232505 h 232505"/>
                <a:gd name="connsiteX6" fmla="*/ 100013 w 230790"/>
                <a:gd name="connsiteY6" fmla="*/ 232505 h 232505"/>
                <a:gd name="connsiteX7" fmla="*/ 0 w 230790"/>
                <a:gd name="connsiteY7" fmla="*/ 0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790" h="232505">
                  <a:moveTo>
                    <a:pt x="95" y="0"/>
                  </a:moveTo>
                  <a:lnTo>
                    <a:pt x="38005" y="0"/>
                  </a:lnTo>
                  <a:lnTo>
                    <a:pt x="115633" y="191453"/>
                  </a:lnTo>
                  <a:lnTo>
                    <a:pt x="193738" y="0"/>
                  </a:lnTo>
                  <a:lnTo>
                    <a:pt x="230791" y="0"/>
                  </a:lnTo>
                  <a:lnTo>
                    <a:pt x="130397" y="232505"/>
                  </a:lnTo>
                  <a:lnTo>
                    <a:pt x="100013" y="232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666771A2-634D-B228-B70A-FFA683CC0623}"/>
                </a:ext>
              </a:extLst>
            </p:cNvPr>
            <p:cNvSpPr/>
            <p:nvPr/>
          </p:nvSpPr>
          <p:spPr>
            <a:xfrm>
              <a:off x="6487369" y="903077"/>
              <a:ext cx="9865" cy="80237"/>
            </a:xfrm>
            <a:custGeom>
              <a:avLst/>
              <a:gdLst>
                <a:gd name="connsiteX0" fmla="*/ 0 w 39242"/>
                <a:gd name="connsiteY0" fmla="*/ 0 h 319182"/>
                <a:gd name="connsiteX1" fmla="*/ 39243 w 39242"/>
                <a:gd name="connsiteY1" fmla="*/ 0 h 319182"/>
                <a:gd name="connsiteX2" fmla="*/ 39243 w 39242"/>
                <a:gd name="connsiteY2" fmla="*/ 37909 h 319182"/>
                <a:gd name="connsiteX3" fmla="*/ 0 w 39242"/>
                <a:gd name="connsiteY3" fmla="*/ 37909 h 319182"/>
                <a:gd name="connsiteX4" fmla="*/ 0 w 39242"/>
                <a:gd name="connsiteY4" fmla="*/ 0 h 319182"/>
                <a:gd name="connsiteX5" fmla="*/ 2286 w 39242"/>
                <a:gd name="connsiteY5" fmla="*/ 88392 h 319182"/>
                <a:gd name="connsiteX6" fmla="*/ 36671 w 39242"/>
                <a:gd name="connsiteY6" fmla="*/ 88392 h 319182"/>
                <a:gd name="connsiteX7" fmla="*/ 36671 w 39242"/>
                <a:gd name="connsiteY7" fmla="*/ 319183 h 319182"/>
                <a:gd name="connsiteX8" fmla="*/ 2286 w 39242"/>
                <a:gd name="connsiteY8" fmla="*/ 319183 h 319182"/>
                <a:gd name="connsiteX9" fmla="*/ 2286 w 39242"/>
                <a:gd name="connsiteY9" fmla="*/ 88392 h 31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42" h="319182">
                  <a:moveTo>
                    <a:pt x="0" y="0"/>
                  </a:moveTo>
                  <a:lnTo>
                    <a:pt x="39243" y="0"/>
                  </a:lnTo>
                  <a:lnTo>
                    <a:pt x="39243" y="37909"/>
                  </a:lnTo>
                  <a:lnTo>
                    <a:pt x="0" y="37909"/>
                  </a:lnTo>
                  <a:lnTo>
                    <a:pt x="0" y="0"/>
                  </a:lnTo>
                  <a:close/>
                  <a:moveTo>
                    <a:pt x="2286" y="88392"/>
                  </a:moveTo>
                  <a:lnTo>
                    <a:pt x="36671" y="88392"/>
                  </a:lnTo>
                  <a:lnTo>
                    <a:pt x="36671" y="319183"/>
                  </a:lnTo>
                  <a:lnTo>
                    <a:pt x="2286" y="319183"/>
                  </a:lnTo>
                  <a:lnTo>
                    <a:pt x="2286" y="88392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39" name="Freeform: Shape 51">
              <a:extLst>
                <a:ext uri="{FF2B5EF4-FFF2-40B4-BE49-F238E27FC236}">
                  <a16:creationId xmlns:a16="http://schemas.microsoft.com/office/drawing/2014/main" id="{9AACB1DA-A9E2-7A39-5925-2894090C8719}"/>
                </a:ext>
              </a:extLst>
            </p:cNvPr>
            <p:cNvSpPr/>
            <p:nvPr/>
          </p:nvSpPr>
          <p:spPr>
            <a:xfrm>
              <a:off x="6513253" y="901353"/>
              <a:ext cx="58615" cy="83182"/>
            </a:xfrm>
            <a:custGeom>
              <a:avLst/>
              <a:gdLst>
                <a:gd name="connsiteX0" fmla="*/ 110394 w 233171"/>
                <a:gd name="connsiteY0" fmla="*/ 330898 h 330898"/>
                <a:gd name="connsiteX1" fmla="*/ 69723 w 233171"/>
                <a:gd name="connsiteY1" fmla="*/ 322897 h 330898"/>
                <a:gd name="connsiteX2" fmla="*/ 34480 w 233171"/>
                <a:gd name="connsiteY2" fmla="*/ 299466 h 330898"/>
                <a:gd name="connsiteX3" fmla="*/ 9430 w 233171"/>
                <a:gd name="connsiteY3" fmla="*/ 261938 h 330898"/>
                <a:gd name="connsiteX4" fmla="*/ 0 w 233171"/>
                <a:gd name="connsiteY4" fmla="*/ 211264 h 330898"/>
                <a:gd name="connsiteX5" fmla="*/ 0 w 233171"/>
                <a:gd name="connsiteY5" fmla="*/ 210407 h 330898"/>
                <a:gd name="connsiteX6" fmla="*/ 9430 w 233171"/>
                <a:gd name="connsiteY6" fmla="*/ 159925 h 330898"/>
                <a:gd name="connsiteX7" fmla="*/ 34480 w 233171"/>
                <a:gd name="connsiteY7" fmla="*/ 122206 h 330898"/>
                <a:gd name="connsiteX8" fmla="*/ 69723 w 233171"/>
                <a:gd name="connsiteY8" fmla="*/ 98488 h 330898"/>
                <a:gd name="connsiteX9" fmla="*/ 110394 w 233171"/>
                <a:gd name="connsiteY9" fmla="*/ 90202 h 330898"/>
                <a:gd name="connsiteX10" fmla="*/ 139827 w 233171"/>
                <a:gd name="connsiteY10" fmla="*/ 94202 h 330898"/>
                <a:gd name="connsiteX11" fmla="*/ 163925 w 233171"/>
                <a:gd name="connsiteY11" fmla="*/ 104870 h 330898"/>
                <a:gd name="connsiteX12" fmla="*/ 183356 w 233171"/>
                <a:gd name="connsiteY12" fmla="*/ 120491 h 330898"/>
                <a:gd name="connsiteX13" fmla="*/ 198787 w 233171"/>
                <a:gd name="connsiteY13" fmla="*/ 139255 h 330898"/>
                <a:gd name="connsiteX14" fmla="*/ 198787 w 233171"/>
                <a:gd name="connsiteY14" fmla="*/ 0 h 330898"/>
                <a:gd name="connsiteX15" fmla="*/ 233172 w 233171"/>
                <a:gd name="connsiteY15" fmla="*/ 0 h 330898"/>
                <a:gd name="connsiteX16" fmla="*/ 233172 w 233171"/>
                <a:gd name="connsiteY16" fmla="*/ 325850 h 330898"/>
                <a:gd name="connsiteX17" fmla="*/ 198787 w 233171"/>
                <a:gd name="connsiteY17" fmla="*/ 325850 h 330898"/>
                <a:gd name="connsiteX18" fmla="*/ 198787 w 233171"/>
                <a:gd name="connsiteY18" fmla="*/ 279463 h 330898"/>
                <a:gd name="connsiteX19" fmla="*/ 182975 w 233171"/>
                <a:gd name="connsiteY19" fmla="*/ 299085 h 330898"/>
                <a:gd name="connsiteX20" fmla="*/ 163544 w 233171"/>
                <a:gd name="connsiteY20" fmla="*/ 315658 h 330898"/>
                <a:gd name="connsiteX21" fmla="*/ 139636 w 233171"/>
                <a:gd name="connsiteY21" fmla="*/ 326803 h 330898"/>
                <a:gd name="connsiteX22" fmla="*/ 110394 w 233171"/>
                <a:gd name="connsiteY22" fmla="*/ 330803 h 330898"/>
                <a:gd name="connsiteX23" fmla="*/ 116681 w 233171"/>
                <a:gd name="connsiteY23" fmla="*/ 300133 h 330898"/>
                <a:gd name="connsiteX24" fmla="*/ 147733 w 233171"/>
                <a:gd name="connsiteY24" fmla="*/ 293656 h 330898"/>
                <a:gd name="connsiteX25" fmla="*/ 174498 w 233171"/>
                <a:gd name="connsiteY25" fmla="*/ 275368 h 330898"/>
                <a:gd name="connsiteX26" fmla="*/ 193262 w 233171"/>
                <a:gd name="connsiteY26" fmla="*/ 247269 h 330898"/>
                <a:gd name="connsiteX27" fmla="*/ 200216 w 233171"/>
                <a:gd name="connsiteY27" fmla="*/ 210883 h 330898"/>
                <a:gd name="connsiteX28" fmla="*/ 200216 w 233171"/>
                <a:gd name="connsiteY28" fmla="*/ 210026 h 330898"/>
                <a:gd name="connsiteX29" fmla="*/ 193262 w 233171"/>
                <a:gd name="connsiteY29" fmla="*/ 173641 h 330898"/>
                <a:gd name="connsiteX30" fmla="*/ 174498 w 233171"/>
                <a:gd name="connsiteY30" fmla="*/ 145732 h 330898"/>
                <a:gd name="connsiteX31" fmla="*/ 147733 w 233171"/>
                <a:gd name="connsiteY31" fmla="*/ 127635 h 330898"/>
                <a:gd name="connsiteX32" fmla="*/ 116681 w 233171"/>
                <a:gd name="connsiteY32" fmla="*/ 121158 h 330898"/>
                <a:gd name="connsiteX33" fmla="*/ 84963 w 233171"/>
                <a:gd name="connsiteY33" fmla="*/ 127159 h 330898"/>
                <a:gd name="connsiteX34" fmla="*/ 59341 w 233171"/>
                <a:gd name="connsiteY34" fmla="*/ 144589 h 330898"/>
                <a:gd name="connsiteX35" fmla="*/ 41910 w 233171"/>
                <a:gd name="connsiteY35" fmla="*/ 172498 h 330898"/>
                <a:gd name="connsiteX36" fmla="*/ 35433 w 233171"/>
                <a:gd name="connsiteY36" fmla="*/ 210026 h 330898"/>
                <a:gd name="connsiteX37" fmla="*/ 35433 w 233171"/>
                <a:gd name="connsiteY37" fmla="*/ 210883 h 330898"/>
                <a:gd name="connsiteX38" fmla="*/ 41910 w 233171"/>
                <a:gd name="connsiteY38" fmla="*/ 247936 h 330898"/>
                <a:gd name="connsiteX39" fmla="*/ 59531 w 233171"/>
                <a:gd name="connsiteY39" fmla="*/ 276034 h 330898"/>
                <a:gd name="connsiteX40" fmla="*/ 85439 w 233171"/>
                <a:gd name="connsiteY40" fmla="*/ 293941 h 330898"/>
                <a:gd name="connsiteX41" fmla="*/ 116681 w 233171"/>
                <a:gd name="connsiteY41" fmla="*/ 300228 h 33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3171" h="330898">
                  <a:moveTo>
                    <a:pt x="110394" y="330898"/>
                  </a:moveTo>
                  <a:cubicBezTo>
                    <a:pt x="96393" y="330898"/>
                    <a:pt x="82868" y="328231"/>
                    <a:pt x="69723" y="322897"/>
                  </a:cubicBezTo>
                  <a:cubicBezTo>
                    <a:pt x="56674" y="317563"/>
                    <a:pt x="44863" y="309753"/>
                    <a:pt x="34480" y="299466"/>
                  </a:cubicBezTo>
                  <a:cubicBezTo>
                    <a:pt x="24003" y="289179"/>
                    <a:pt x="15716" y="276701"/>
                    <a:pt x="9430" y="261938"/>
                  </a:cubicBezTo>
                  <a:cubicBezTo>
                    <a:pt x="3143" y="247174"/>
                    <a:pt x="0" y="230314"/>
                    <a:pt x="0" y="211264"/>
                  </a:cubicBezTo>
                  <a:lnTo>
                    <a:pt x="0" y="210407"/>
                  </a:lnTo>
                  <a:cubicBezTo>
                    <a:pt x="0" y="191643"/>
                    <a:pt x="3143" y="174879"/>
                    <a:pt x="9430" y="159925"/>
                  </a:cubicBezTo>
                  <a:cubicBezTo>
                    <a:pt x="15716" y="145066"/>
                    <a:pt x="24003" y="132493"/>
                    <a:pt x="34480" y="122206"/>
                  </a:cubicBezTo>
                  <a:cubicBezTo>
                    <a:pt x="44863" y="111919"/>
                    <a:pt x="56674" y="104013"/>
                    <a:pt x="69723" y="98488"/>
                  </a:cubicBezTo>
                  <a:cubicBezTo>
                    <a:pt x="82868" y="92964"/>
                    <a:pt x="96393" y="90202"/>
                    <a:pt x="110394" y="90202"/>
                  </a:cubicBezTo>
                  <a:cubicBezTo>
                    <a:pt x="121158" y="90202"/>
                    <a:pt x="130969" y="91535"/>
                    <a:pt x="139827" y="94202"/>
                  </a:cubicBezTo>
                  <a:cubicBezTo>
                    <a:pt x="148780" y="96869"/>
                    <a:pt x="156782" y="100489"/>
                    <a:pt x="163925" y="104870"/>
                  </a:cubicBezTo>
                  <a:cubicBezTo>
                    <a:pt x="171069" y="109347"/>
                    <a:pt x="177546" y="114586"/>
                    <a:pt x="183356" y="120491"/>
                  </a:cubicBezTo>
                  <a:cubicBezTo>
                    <a:pt x="189166" y="126492"/>
                    <a:pt x="194310" y="132683"/>
                    <a:pt x="198787" y="139255"/>
                  </a:cubicBezTo>
                  <a:lnTo>
                    <a:pt x="198787" y="0"/>
                  </a:lnTo>
                  <a:lnTo>
                    <a:pt x="233172" y="0"/>
                  </a:lnTo>
                  <a:lnTo>
                    <a:pt x="233172" y="325850"/>
                  </a:lnTo>
                  <a:lnTo>
                    <a:pt x="198787" y="325850"/>
                  </a:lnTo>
                  <a:lnTo>
                    <a:pt x="198787" y="279463"/>
                  </a:lnTo>
                  <a:cubicBezTo>
                    <a:pt x="194024" y="286321"/>
                    <a:pt x="188786" y="292894"/>
                    <a:pt x="182975" y="299085"/>
                  </a:cubicBezTo>
                  <a:cubicBezTo>
                    <a:pt x="177165" y="305371"/>
                    <a:pt x="170688" y="310896"/>
                    <a:pt x="163544" y="315658"/>
                  </a:cubicBezTo>
                  <a:cubicBezTo>
                    <a:pt x="156400" y="320421"/>
                    <a:pt x="148494" y="324136"/>
                    <a:pt x="139636" y="326803"/>
                  </a:cubicBezTo>
                  <a:cubicBezTo>
                    <a:pt x="130873" y="329470"/>
                    <a:pt x="121158" y="330803"/>
                    <a:pt x="110394" y="330803"/>
                  </a:cubicBezTo>
                  <a:close/>
                  <a:moveTo>
                    <a:pt x="116681" y="300133"/>
                  </a:moveTo>
                  <a:cubicBezTo>
                    <a:pt x="127445" y="300133"/>
                    <a:pt x="137732" y="297942"/>
                    <a:pt x="147733" y="293656"/>
                  </a:cubicBezTo>
                  <a:cubicBezTo>
                    <a:pt x="157734" y="289369"/>
                    <a:pt x="166592" y="283273"/>
                    <a:pt x="174498" y="275368"/>
                  </a:cubicBezTo>
                  <a:cubicBezTo>
                    <a:pt x="182404" y="267462"/>
                    <a:pt x="188595" y="258127"/>
                    <a:pt x="193262" y="247269"/>
                  </a:cubicBezTo>
                  <a:cubicBezTo>
                    <a:pt x="197834" y="236410"/>
                    <a:pt x="200216" y="224314"/>
                    <a:pt x="200216" y="210883"/>
                  </a:cubicBezTo>
                  <a:lnTo>
                    <a:pt x="200216" y="210026"/>
                  </a:lnTo>
                  <a:cubicBezTo>
                    <a:pt x="200216" y="196596"/>
                    <a:pt x="197929" y="184499"/>
                    <a:pt x="193262" y="173641"/>
                  </a:cubicBezTo>
                  <a:cubicBezTo>
                    <a:pt x="188595" y="162782"/>
                    <a:pt x="182404" y="153448"/>
                    <a:pt x="174498" y="145732"/>
                  </a:cubicBezTo>
                  <a:cubicBezTo>
                    <a:pt x="166592" y="138017"/>
                    <a:pt x="157639" y="132016"/>
                    <a:pt x="147733" y="127635"/>
                  </a:cubicBezTo>
                  <a:cubicBezTo>
                    <a:pt x="137732" y="123349"/>
                    <a:pt x="127445" y="121158"/>
                    <a:pt x="116681" y="121158"/>
                  </a:cubicBezTo>
                  <a:cubicBezTo>
                    <a:pt x="105346" y="121158"/>
                    <a:pt x="94774" y="123158"/>
                    <a:pt x="84963" y="127159"/>
                  </a:cubicBezTo>
                  <a:cubicBezTo>
                    <a:pt x="75152" y="131159"/>
                    <a:pt x="66580" y="136969"/>
                    <a:pt x="59341" y="144589"/>
                  </a:cubicBezTo>
                  <a:cubicBezTo>
                    <a:pt x="52007" y="152114"/>
                    <a:pt x="46291" y="161449"/>
                    <a:pt x="41910" y="172498"/>
                  </a:cubicBezTo>
                  <a:cubicBezTo>
                    <a:pt x="37624" y="183451"/>
                    <a:pt x="35433" y="196024"/>
                    <a:pt x="35433" y="210026"/>
                  </a:cubicBezTo>
                  <a:lnTo>
                    <a:pt x="35433" y="210883"/>
                  </a:lnTo>
                  <a:cubicBezTo>
                    <a:pt x="35433" y="224599"/>
                    <a:pt x="37624" y="236982"/>
                    <a:pt x="41910" y="247936"/>
                  </a:cubicBezTo>
                  <a:cubicBezTo>
                    <a:pt x="46196" y="258984"/>
                    <a:pt x="52101" y="268319"/>
                    <a:pt x="59531" y="276034"/>
                  </a:cubicBezTo>
                  <a:cubicBezTo>
                    <a:pt x="66960" y="283750"/>
                    <a:pt x="75629" y="289750"/>
                    <a:pt x="85439" y="293941"/>
                  </a:cubicBezTo>
                  <a:cubicBezTo>
                    <a:pt x="95250" y="298132"/>
                    <a:pt x="105632" y="300228"/>
                    <a:pt x="116681" y="300228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0" name="Freeform: Shape 52">
              <a:extLst>
                <a:ext uri="{FF2B5EF4-FFF2-40B4-BE49-F238E27FC236}">
                  <a16:creationId xmlns:a16="http://schemas.microsoft.com/office/drawing/2014/main" id="{AA4108B7-D418-B3D1-3A06-08E9F0C2D3C5}"/>
                </a:ext>
              </a:extLst>
            </p:cNvPr>
            <p:cNvSpPr/>
            <p:nvPr/>
          </p:nvSpPr>
          <p:spPr>
            <a:xfrm>
              <a:off x="6586762" y="924387"/>
              <a:ext cx="51025" cy="60147"/>
            </a:xfrm>
            <a:custGeom>
              <a:avLst/>
              <a:gdLst>
                <a:gd name="connsiteX0" fmla="*/ 86201 w 202977"/>
                <a:gd name="connsiteY0" fmla="*/ 239268 h 239267"/>
                <a:gd name="connsiteX1" fmla="*/ 54483 w 202977"/>
                <a:gd name="connsiteY1" fmla="*/ 234791 h 239267"/>
                <a:gd name="connsiteX2" fmla="*/ 26765 w 202977"/>
                <a:gd name="connsiteY2" fmla="*/ 221171 h 239267"/>
                <a:gd name="connsiteX3" fmla="*/ 7334 w 202977"/>
                <a:gd name="connsiteY3" fmla="*/ 198596 h 239267"/>
                <a:gd name="connsiteX4" fmla="*/ 0 w 202977"/>
                <a:gd name="connsiteY4" fmla="*/ 167354 h 239267"/>
                <a:gd name="connsiteX5" fmla="*/ 0 w 202977"/>
                <a:gd name="connsiteY5" fmla="*/ 166402 h 239267"/>
                <a:gd name="connsiteX6" fmla="*/ 7144 w 202977"/>
                <a:gd name="connsiteY6" fmla="*/ 133636 h 239267"/>
                <a:gd name="connsiteX7" fmla="*/ 27432 w 202977"/>
                <a:gd name="connsiteY7" fmla="*/ 110204 h 239267"/>
                <a:gd name="connsiteX8" fmla="*/ 58674 w 202977"/>
                <a:gd name="connsiteY8" fmla="*/ 95917 h 239267"/>
                <a:gd name="connsiteX9" fmla="*/ 98584 w 202977"/>
                <a:gd name="connsiteY9" fmla="*/ 90964 h 239267"/>
                <a:gd name="connsiteX10" fmla="*/ 137160 w 202977"/>
                <a:gd name="connsiteY10" fmla="*/ 93631 h 239267"/>
                <a:gd name="connsiteX11" fmla="*/ 169069 w 202977"/>
                <a:gd name="connsiteY11" fmla="*/ 100774 h 239267"/>
                <a:gd name="connsiteX12" fmla="*/ 169069 w 202977"/>
                <a:gd name="connsiteY12" fmla="*/ 93726 h 239267"/>
                <a:gd name="connsiteX13" fmla="*/ 151162 w 202977"/>
                <a:gd name="connsiteY13" fmla="*/ 47339 h 239267"/>
                <a:gd name="connsiteX14" fmla="*/ 100679 w 202977"/>
                <a:gd name="connsiteY14" fmla="*/ 31623 h 239267"/>
                <a:gd name="connsiteX15" fmla="*/ 63436 w 202977"/>
                <a:gd name="connsiteY15" fmla="*/ 36100 h 239267"/>
                <a:gd name="connsiteX16" fmla="*/ 30670 w 202977"/>
                <a:gd name="connsiteY16" fmla="*/ 48196 h 239267"/>
                <a:gd name="connsiteX17" fmla="*/ 20383 w 202977"/>
                <a:gd name="connsiteY17" fmla="*/ 19907 h 239267"/>
                <a:gd name="connsiteX18" fmla="*/ 59245 w 202977"/>
                <a:gd name="connsiteY18" fmla="*/ 5429 h 239267"/>
                <a:gd name="connsiteX19" fmla="*/ 104299 w 202977"/>
                <a:gd name="connsiteY19" fmla="*/ 0 h 239267"/>
                <a:gd name="connsiteX20" fmla="*/ 178879 w 202977"/>
                <a:gd name="connsiteY20" fmla="*/ 25432 h 239267"/>
                <a:gd name="connsiteX21" fmla="*/ 202978 w 202977"/>
                <a:gd name="connsiteY21" fmla="*/ 93250 h 239267"/>
                <a:gd name="connsiteX22" fmla="*/ 202978 w 202977"/>
                <a:gd name="connsiteY22" fmla="*/ 234315 h 239267"/>
                <a:gd name="connsiteX23" fmla="*/ 169069 w 202977"/>
                <a:gd name="connsiteY23" fmla="*/ 234315 h 239267"/>
                <a:gd name="connsiteX24" fmla="*/ 169069 w 202977"/>
                <a:gd name="connsiteY24" fmla="*/ 199930 h 239267"/>
                <a:gd name="connsiteX25" fmla="*/ 136684 w 202977"/>
                <a:gd name="connsiteY25" fmla="*/ 227362 h 239267"/>
                <a:gd name="connsiteX26" fmla="*/ 86010 w 202977"/>
                <a:gd name="connsiteY26" fmla="*/ 239173 h 239267"/>
                <a:gd name="connsiteX27" fmla="*/ 93154 w 202977"/>
                <a:gd name="connsiteY27" fmla="*/ 211169 h 239267"/>
                <a:gd name="connsiteX28" fmla="*/ 122967 w 202977"/>
                <a:gd name="connsiteY28" fmla="*/ 206788 h 239267"/>
                <a:gd name="connsiteX29" fmla="*/ 147256 w 202977"/>
                <a:gd name="connsiteY29" fmla="*/ 194120 h 239267"/>
                <a:gd name="connsiteX30" fmla="*/ 163735 w 202977"/>
                <a:gd name="connsiteY30" fmla="*/ 174593 h 239267"/>
                <a:gd name="connsiteX31" fmla="*/ 169736 w 202977"/>
                <a:gd name="connsiteY31" fmla="*/ 149447 h 239267"/>
                <a:gd name="connsiteX32" fmla="*/ 169736 w 202977"/>
                <a:gd name="connsiteY32" fmla="*/ 128111 h 239267"/>
                <a:gd name="connsiteX33" fmla="*/ 140398 w 202977"/>
                <a:gd name="connsiteY33" fmla="*/ 121444 h 239267"/>
                <a:gd name="connsiteX34" fmla="*/ 102584 w 202977"/>
                <a:gd name="connsiteY34" fmla="*/ 118300 h 239267"/>
                <a:gd name="connsiteX35" fmla="*/ 52959 w 202977"/>
                <a:gd name="connsiteY35" fmla="*/ 130969 h 239267"/>
                <a:gd name="connsiteX36" fmla="*/ 35433 w 202977"/>
                <a:gd name="connsiteY36" fmla="*/ 164497 h 239267"/>
                <a:gd name="connsiteX37" fmla="*/ 35433 w 202977"/>
                <a:gd name="connsiteY37" fmla="*/ 165449 h 239267"/>
                <a:gd name="connsiteX38" fmla="*/ 40100 w 202977"/>
                <a:gd name="connsiteY38" fmla="*/ 184785 h 239267"/>
                <a:gd name="connsiteX39" fmla="*/ 52768 w 202977"/>
                <a:gd name="connsiteY39" fmla="*/ 199263 h 239267"/>
                <a:gd name="connsiteX40" fmla="*/ 71247 w 202977"/>
                <a:gd name="connsiteY40" fmla="*/ 208121 h 239267"/>
                <a:gd name="connsiteX41" fmla="*/ 93250 w 202977"/>
                <a:gd name="connsiteY41" fmla="*/ 211169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977" h="239267">
                  <a:moveTo>
                    <a:pt x="86201" y="239268"/>
                  </a:moveTo>
                  <a:cubicBezTo>
                    <a:pt x="75533" y="239268"/>
                    <a:pt x="64961" y="237744"/>
                    <a:pt x="54483" y="234791"/>
                  </a:cubicBezTo>
                  <a:cubicBezTo>
                    <a:pt x="44101" y="231838"/>
                    <a:pt x="34861" y="227266"/>
                    <a:pt x="26765" y="221171"/>
                  </a:cubicBezTo>
                  <a:cubicBezTo>
                    <a:pt x="18669" y="215074"/>
                    <a:pt x="12287" y="207550"/>
                    <a:pt x="7334" y="198596"/>
                  </a:cubicBezTo>
                  <a:cubicBezTo>
                    <a:pt x="2381" y="189643"/>
                    <a:pt x="0" y="179260"/>
                    <a:pt x="0" y="167354"/>
                  </a:cubicBezTo>
                  <a:lnTo>
                    <a:pt x="0" y="166402"/>
                  </a:lnTo>
                  <a:cubicBezTo>
                    <a:pt x="0" y="153924"/>
                    <a:pt x="2381" y="142970"/>
                    <a:pt x="7144" y="133636"/>
                  </a:cubicBezTo>
                  <a:cubicBezTo>
                    <a:pt x="11906" y="124206"/>
                    <a:pt x="18669" y="116491"/>
                    <a:pt x="27432" y="110204"/>
                  </a:cubicBezTo>
                  <a:cubicBezTo>
                    <a:pt x="36195" y="103918"/>
                    <a:pt x="46672" y="99155"/>
                    <a:pt x="58674" y="95917"/>
                  </a:cubicBezTo>
                  <a:cubicBezTo>
                    <a:pt x="70675" y="92678"/>
                    <a:pt x="84011" y="90964"/>
                    <a:pt x="98584" y="90964"/>
                  </a:cubicBezTo>
                  <a:cubicBezTo>
                    <a:pt x="113157" y="90964"/>
                    <a:pt x="126302" y="91821"/>
                    <a:pt x="137160" y="93631"/>
                  </a:cubicBezTo>
                  <a:cubicBezTo>
                    <a:pt x="148018" y="95440"/>
                    <a:pt x="158686" y="97822"/>
                    <a:pt x="169069" y="100774"/>
                  </a:cubicBezTo>
                  <a:lnTo>
                    <a:pt x="169069" y="93726"/>
                  </a:lnTo>
                  <a:cubicBezTo>
                    <a:pt x="169069" y="73342"/>
                    <a:pt x="163068" y="57912"/>
                    <a:pt x="151162" y="47339"/>
                  </a:cubicBezTo>
                  <a:cubicBezTo>
                    <a:pt x="139255" y="36862"/>
                    <a:pt x="122396" y="31623"/>
                    <a:pt x="100679" y="31623"/>
                  </a:cubicBezTo>
                  <a:cubicBezTo>
                    <a:pt x="86963" y="31623"/>
                    <a:pt x="74580" y="33147"/>
                    <a:pt x="63436" y="36100"/>
                  </a:cubicBezTo>
                  <a:cubicBezTo>
                    <a:pt x="52292" y="39053"/>
                    <a:pt x="41338" y="43053"/>
                    <a:pt x="30670" y="48196"/>
                  </a:cubicBezTo>
                  <a:lnTo>
                    <a:pt x="20383" y="19907"/>
                  </a:lnTo>
                  <a:cubicBezTo>
                    <a:pt x="33147" y="13906"/>
                    <a:pt x="46101" y="9049"/>
                    <a:pt x="59245" y="5429"/>
                  </a:cubicBezTo>
                  <a:cubicBezTo>
                    <a:pt x="72294" y="1810"/>
                    <a:pt x="87344" y="0"/>
                    <a:pt x="104299" y="0"/>
                  </a:cubicBezTo>
                  <a:cubicBezTo>
                    <a:pt x="137064" y="0"/>
                    <a:pt x="161925" y="8477"/>
                    <a:pt x="178879" y="25432"/>
                  </a:cubicBezTo>
                  <a:cubicBezTo>
                    <a:pt x="194976" y="41529"/>
                    <a:pt x="202978" y="64103"/>
                    <a:pt x="202978" y="93250"/>
                  </a:cubicBezTo>
                  <a:lnTo>
                    <a:pt x="202978" y="234315"/>
                  </a:lnTo>
                  <a:lnTo>
                    <a:pt x="169069" y="234315"/>
                  </a:lnTo>
                  <a:lnTo>
                    <a:pt x="169069" y="199930"/>
                  </a:lnTo>
                  <a:cubicBezTo>
                    <a:pt x="160972" y="210312"/>
                    <a:pt x="150209" y="219456"/>
                    <a:pt x="136684" y="227362"/>
                  </a:cubicBezTo>
                  <a:cubicBezTo>
                    <a:pt x="123158" y="235267"/>
                    <a:pt x="106299" y="239173"/>
                    <a:pt x="86010" y="239173"/>
                  </a:cubicBezTo>
                  <a:close/>
                  <a:moveTo>
                    <a:pt x="93154" y="211169"/>
                  </a:moveTo>
                  <a:cubicBezTo>
                    <a:pt x="103822" y="211169"/>
                    <a:pt x="113729" y="209740"/>
                    <a:pt x="122967" y="206788"/>
                  </a:cubicBezTo>
                  <a:cubicBezTo>
                    <a:pt x="132207" y="203835"/>
                    <a:pt x="140208" y="199644"/>
                    <a:pt x="147256" y="194120"/>
                  </a:cubicBezTo>
                  <a:cubicBezTo>
                    <a:pt x="154210" y="188595"/>
                    <a:pt x="159734" y="182118"/>
                    <a:pt x="163735" y="174593"/>
                  </a:cubicBezTo>
                  <a:cubicBezTo>
                    <a:pt x="167735" y="167068"/>
                    <a:pt x="169736" y="158687"/>
                    <a:pt x="169736" y="149447"/>
                  </a:cubicBezTo>
                  <a:lnTo>
                    <a:pt x="169736" y="128111"/>
                  </a:lnTo>
                  <a:cubicBezTo>
                    <a:pt x="161163" y="125730"/>
                    <a:pt x="151352" y="123539"/>
                    <a:pt x="140398" y="121444"/>
                  </a:cubicBezTo>
                  <a:cubicBezTo>
                    <a:pt x="129444" y="119348"/>
                    <a:pt x="116871" y="118300"/>
                    <a:pt x="102584" y="118300"/>
                  </a:cubicBezTo>
                  <a:cubicBezTo>
                    <a:pt x="81248" y="118300"/>
                    <a:pt x="64675" y="122491"/>
                    <a:pt x="52959" y="130969"/>
                  </a:cubicBezTo>
                  <a:cubicBezTo>
                    <a:pt x="41243" y="139446"/>
                    <a:pt x="35433" y="150590"/>
                    <a:pt x="35433" y="164497"/>
                  </a:cubicBezTo>
                  <a:lnTo>
                    <a:pt x="35433" y="165449"/>
                  </a:lnTo>
                  <a:cubicBezTo>
                    <a:pt x="35433" y="172498"/>
                    <a:pt x="36957" y="178975"/>
                    <a:pt x="40100" y="184785"/>
                  </a:cubicBezTo>
                  <a:cubicBezTo>
                    <a:pt x="43148" y="190500"/>
                    <a:pt x="47434" y="195358"/>
                    <a:pt x="52768" y="199263"/>
                  </a:cubicBezTo>
                  <a:cubicBezTo>
                    <a:pt x="58102" y="203073"/>
                    <a:pt x="64198" y="206026"/>
                    <a:pt x="71247" y="208121"/>
                  </a:cubicBezTo>
                  <a:cubicBezTo>
                    <a:pt x="78200" y="210217"/>
                    <a:pt x="85534" y="211169"/>
                    <a:pt x="93250" y="21116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1" name="Freeform: Shape 53">
              <a:extLst>
                <a:ext uri="{FF2B5EF4-FFF2-40B4-BE49-F238E27FC236}">
                  <a16:creationId xmlns:a16="http://schemas.microsoft.com/office/drawing/2014/main" id="{E776F3E4-C433-2673-C720-0EF8BC87EC59}"/>
                </a:ext>
              </a:extLst>
            </p:cNvPr>
            <p:cNvSpPr/>
            <p:nvPr/>
          </p:nvSpPr>
          <p:spPr>
            <a:xfrm>
              <a:off x="6651291" y="924268"/>
              <a:ext cx="44680" cy="60195"/>
            </a:xfrm>
            <a:custGeom>
              <a:avLst/>
              <a:gdLst>
                <a:gd name="connsiteX0" fmla="*/ 95535 w 177736"/>
                <a:gd name="connsiteY0" fmla="*/ 239268 h 239458"/>
                <a:gd name="connsiteX1" fmla="*/ 45053 w 177736"/>
                <a:gd name="connsiteY1" fmla="*/ 230124 h 239458"/>
                <a:gd name="connsiteX2" fmla="*/ 0 w 177736"/>
                <a:gd name="connsiteY2" fmla="*/ 205359 h 239458"/>
                <a:gd name="connsiteX3" fmla="*/ 17430 w 177736"/>
                <a:gd name="connsiteY3" fmla="*/ 180785 h 239458"/>
                <a:gd name="connsiteX4" fmla="*/ 56483 w 177736"/>
                <a:gd name="connsiteY4" fmla="*/ 202692 h 239458"/>
                <a:gd name="connsiteX5" fmla="*/ 97345 w 177736"/>
                <a:gd name="connsiteY5" fmla="*/ 210217 h 239458"/>
                <a:gd name="connsiteX6" fmla="*/ 131730 w 177736"/>
                <a:gd name="connsiteY6" fmla="*/ 200406 h 239458"/>
                <a:gd name="connsiteX7" fmla="*/ 145161 w 177736"/>
                <a:gd name="connsiteY7" fmla="*/ 173641 h 239458"/>
                <a:gd name="connsiteX8" fmla="*/ 145161 w 177736"/>
                <a:gd name="connsiteY8" fmla="*/ 172784 h 239458"/>
                <a:gd name="connsiteX9" fmla="*/ 140494 w 177736"/>
                <a:gd name="connsiteY9" fmla="*/ 158020 h 239458"/>
                <a:gd name="connsiteX10" fmla="*/ 127825 w 177736"/>
                <a:gd name="connsiteY10" fmla="*/ 147066 h 239458"/>
                <a:gd name="connsiteX11" fmla="*/ 109251 w 177736"/>
                <a:gd name="connsiteY11" fmla="*/ 138779 h 239458"/>
                <a:gd name="connsiteX12" fmla="*/ 87630 w 177736"/>
                <a:gd name="connsiteY12" fmla="*/ 132112 h 239458"/>
                <a:gd name="connsiteX13" fmla="*/ 60579 w 177736"/>
                <a:gd name="connsiteY13" fmla="*/ 123444 h 239458"/>
                <a:gd name="connsiteX14" fmla="*/ 36004 w 177736"/>
                <a:gd name="connsiteY14" fmla="*/ 111633 h 239458"/>
                <a:gd name="connsiteX15" fmla="*/ 18192 w 177736"/>
                <a:gd name="connsiteY15" fmla="*/ 93726 h 239458"/>
                <a:gd name="connsiteX16" fmla="*/ 11239 w 177736"/>
                <a:gd name="connsiteY16" fmla="*/ 66961 h 239458"/>
                <a:gd name="connsiteX17" fmla="*/ 11239 w 177736"/>
                <a:gd name="connsiteY17" fmla="*/ 66008 h 239458"/>
                <a:gd name="connsiteX18" fmla="*/ 17050 w 177736"/>
                <a:gd name="connsiteY18" fmla="*/ 39053 h 239458"/>
                <a:gd name="connsiteX19" fmla="*/ 33338 w 177736"/>
                <a:gd name="connsiteY19" fmla="*/ 18098 h 239458"/>
                <a:gd name="connsiteX20" fmla="*/ 58388 w 177736"/>
                <a:gd name="connsiteY20" fmla="*/ 4667 h 239458"/>
                <a:gd name="connsiteX21" fmla="*/ 89821 w 177736"/>
                <a:gd name="connsiteY21" fmla="*/ 0 h 239458"/>
                <a:gd name="connsiteX22" fmla="*/ 133159 w 177736"/>
                <a:gd name="connsiteY22" fmla="*/ 6953 h 239458"/>
                <a:gd name="connsiteX23" fmla="*/ 172878 w 177736"/>
                <a:gd name="connsiteY23" fmla="*/ 25527 h 239458"/>
                <a:gd name="connsiteX24" fmla="*/ 157257 w 177736"/>
                <a:gd name="connsiteY24" fmla="*/ 51435 h 239458"/>
                <a:gd name="connsiteX25" fmla="*/ 123539 w 177736"/>
                <a:gd name="connsiteY25" fmla="*/ 35147 h 239458"/>
                <a:gd name="connsiteX26" fmla="*/ 88963 w 177736"/>
                <a:gd name="connsiteY26" fmla="*/ 29146 h 239458"/>
                <a:gd name="connsiteX27" fmla="*/ 56388 w 177736"/>
                <a:gd name="connsiteY27" fmla="*/ 38767 h 239458"/>
                <a:gd name="connsiteX28" fmla="*/ 44291 w 177736"/>
                <a:gd name="connsiteY28" fmla="*/ 62675 h 239458"/>
                <a:gd name="connsiteX29" fmla="*/ 44291 w 177736"/>
                <a:gd name="connsiteY29" fmla="*/ 63627 h 239458"/>
                <a:gd name="connsiteX30" fmla="*/ 49244 w 177736"/>
                <a:gd name="connsiteY30" fmla="*/ 77724 h 239458"/>
                <a:gd name="connsiteX31" fmla="*/ 62389 w 177736"/>
                <a:gd name="connsiteY31" fmla="*/ 88202 h 239458"/>
                <a:gd name="connsiteX32" fmla="*/ 81343 w 177736"/>
                <a:gd name="connsiteY32" fmla="*/ 96203 h 239458"/>
                <a:gd name="connsiteX33" fmla="*/ 103631 w 177736"/>
                <a:gd name="connsiteY33" fmla="*/ 103346 h 239458"/>
                <a:gd name="connsiteX34" fmla="*/ 130207 w 177736"/>
                <a:gd name="connsiteY34" fmla="*/ 112300 h 239458"/>
                <a:gd name="connsiteX35" fmla="*/ 154114 w 177736"/>
                <a:gd name="connsiteY35" fmla="*/ 124778 h 239458"/>
                <a:gd name="connsiteX36" fmla="*/ 171259 w 177736"/>
                <a:gd name="connsiteY36" fmla="*/ 143066 h 239458"/>
                <a:gd name="connsiteX37" fmla="*/ 177736 w 177736"/>
                <a:gd name="connsiteY37" fmla="*/ 169450 h 239458"/>
                <a:gd name="connsiteX38" fmla="*/ 177736 w 177736"/>
                <a:gd name="connsiteY38" fmla="*/ 170307 h 239458"/>
                <a:gd name="connsiteX39" fmla="*/ 171259 w 177736"/>
                <a:gd name="connsiteY39" fmla="*/ 199549 h 239458"/>
                <a:gd name="connsiteX40" fmla="*/ 153828 w 177736"/>
                <a:gd name="connsiteY40" fmla="*/ 221171 h 239458"/>
                <a:gd name="connsiteX41" fmla="*/ 127921 w 177736"/>
                <a:gd name="connsiteY41" fmla="*/ 234791 h 239458"/>
                <a:gd name="connsiteX42" fmla="*/ 95535 w 177736"/>
                <a:gd name="connsiteY42" fmla="*/ 239459 h 23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7736" h="239458">
                  <a:moveTo>
                    <a:pt x="95535" y="239268"/>
                  </a:moveTo>
                  <a:cubicBezTo>
                    <a:pt x="78867" y="239268"/>
                    <a:pt x="62007" y="236220"/>
                    <a:pt x="45053" y="230124"/>
                  </a:cubicBezTo>
                  <a:cubicBezTo>
                    <a:pt x="28098" y="224028"/>
                    <a:pt x="13049" y="215741"/>
                    <a:pt x="0" y="205359"/>
                  </a:cubicBezTo>
                  <a:lnTo>
                    <a:pt x="17430" y="180785"/>
                  </a:lnTo>
                  <a:cubicBezTo>
                    <a:pt x="29908" y="190310"/>
                    <a:pt x="42957" y="197644"/>
                    <a:pt x="56483" y="202692"/>
                  </a:cubicBezTo>
                  <a:cubicBezTo>
                    <a:pt x="70009" y="207740"/>
                    <a:pt x="83629" y="210217"/>
                    <a:pt x="97345" y="210217"/>
                  </a:cubicBezTo>
                  <a:cubicBezTo>
                    <a:pt x="111061" y="210217"/>
                    <a:pt x="122777" y="206978"/>
                    <a:pt x="131730" y="200406"/>
                  </a:cubicBezTo>
                  <a:cubicBezTo>
                    <a:pt x="140684" y="193834"/>
                    <a:pt x="145161" y="184976"/>
                    <a:pt x="145161" y="173641"/>
                  </a:cubicBezTo>
                  <a:lnTo>
                    <a:pt x="145161" y="172784"/>
                  </a:lnTo>
                  <a:cubicBezTo>
                    <a:pt x="145161" y="167164"/>
                    <a:pt x="143541" y="162211"/>
                    <a:pt x="140494" y="158020"/>
                  </a:cubicBezTo>
                  <a:cubicBezTo>
                    <a:pt x="137350" y="153829"/>
                    <a:pt x="133159" y="150209"/>
                    <a:pt x="127825" y="147066"/>
                  </a:cubicBezTo>
                  <a:cubicBezTo>
                    <a:pt x="122491" y="143923"/>
                    <a:pt x="116300" y="141161"/>
                    <a:pt x="109251" y="138779"/>
                  </a:cubicBezTo>
                  <a:cubicBezTo>
                    <a:pt x="102298" y="136398"/>
                    <a:pt x="95059" y="134207"/>
                    <a:pt x="87630" y="132112"/>
                  </a:cubicBezTo>
                  <a:cubicBezTo>
                    <a:pt x="78676" y="129445"/>
                    <a:pt x="69722" y="126492"/>
                    <a:pt x="60579" y="123444"/>
                  </a:cubicBezTo>
                  <a:cubicBezTo>
                    <a:pt x="51530" y="120301"/>
                    <a:pt x="43339" y="116396"/>
                    <a:pt x="36004" y="111633"/>
                  </a:cubicBezTo>
                  <a:cubicBezTo>
                    <a:pt x="28670" y="106871"/>
                    <a:pt x="22764" y="100870"/>
                    <a:pt x="18192" y="93726"/>
                  </a:cubicBezTo>
                  <a:cubicBezTo>
                    <a:pt x="13525" y="86582"/>
                    <a:pt x="11239" y="77629"/>
                    <a:pt x="11239" y="66961"/>
                  </a:cubicBezTo>
                  <a:lnTo>
                    <a:pt x="11239" y="66008"/>
                  </a:lnTo>
                  <a:cubicBezTo>
                    <a:pt x="11239" y="56198"/>
                    <a:pt x="13144" y="47149"/>
                    <a:pt x="17050" y="39053"/>
                  </a:cubicBezTo>
                  <a:cubicBezTo>
                    <a:pt x="20955" y="30861"/>
                    <a:pt x="26384" y="23908"/>
                    <a:pt x="33338" y="18098"/>
                  </a:cubicBezTo>
                  <a:cubicBezTo>
                    <a:pt x="40291" y="12287"/>
                    <a:pt x="48673" y="7811"/>
                    <a:pt x="58388" y="4667"/>
                  </a:cubicBezTo>
                  <a:cubicBezTo>
                    <a:pt x="68008" y="1524"/>
                    <a:pt x="78581" y="0"/>
                    <a:pt x="89821" y="0"/>
                  </a:cubicBezTo>
                  <a:cubicBezTo>
                    <a:pt x="104108" y="0"/>
                    <a:pt x="118586" y="2286"/>
                    <a:pt x="133159" y="6953"/>
                  </a:cubicBezTo>
                  <a:cubicBezTo>
                    <a:pt x="147732" y="11621"/>
                    <a:pt x="160972" y="17717"/>
                    <a:pt x="172878" y="25527"/>
                  </a:cubicBezTo>
                  <a:lnTo>
                    <a:pt x="157257" y="51435"/>
                  </a:lnTo>
                  <a:cubicBezTo>
                    <a:pt x="146494" y="44577"/>
                    <a:pt x="135255" y="39148"/>
                    <a:pt x="123539" y="35147"/>
                  </a:cubicBezTo>
                  <a:cubicBezTo>
                    <a:pt x="111823" y="31147"/>
                    <a:pt x="100203" y="29146"/>
                    <a:pt x="88963" y="29146"/>
                  </a:cubicBezTo>
                  <a:cubicBezTo>
                    <a:pt x="75247" y="29146"/>
                    <a:pt x="64389" y="32385"/>
                    <a:pt x="56388" y="38767"/>
                  </a:cubicBezTo>
                  <a:cubicBezTo>
                    <a:pt x="48291" y="45149"/>
                    <a:pt x="44291" y="53150"/>
                    <a:pt x="44291" y="62675"/>
                  </a:cubicBezTo>
                  <a:lnTo>
                    <a:pt x="44291" y="63627"/>
                  </a:lnTo>
                  <a:cubicBezTo>
                    <a:pt x="44291" y="68961"/>
                    <a:pt x="45910" y="73628"/>
                    <a:pt x="49244" y="77724"/>
                  </a:cubicBezTo>
                  <a:cubicBezTo>
                    <a:pt x="52482" y="81725"/>
                    <a:pt x="56864" y="85249"/>
                    <a:pt x="62389" y="88202"/>
                  </a:cubicBezTo>
                  <a:cubicBezTo>
                    <a:pt x="67913" y="91154"/>
                    <a:pt x="74200" y="93821"/>
                    <a:pt x="81343" y="96203"/>
                  </a:cubicBezTo>
                  <a:cubicBezTo>
                    <a:pt x="88487" y="98584"/>
                    <a:pt x="95916" y="100965"/>
                    <a:pt x="103631" y="103346"/>
                  </a:cubicBezTo>
                  <a:cubicBezTo>
                    <a:pt x="112585" y="106013"/>
                    <a:pt x="121444" y="108966"/>
                    <a:pt x="130207" y="112300"/>
                  </a:cubicBezTo>
                  <a:cubicBezTo>
                    <a:pt x="138969" y="115538"/>
                    <a:pt x="146971" y="119729"/>
                    <a:pt x="154114" y="124778"/>
                  </a:cubicBezTo>
                  <a:cubicBezTo>
                    <a:pt x="161258" y="129826"/>
                    <a:pt x="166973" y="135922"/>
                    <a:pt x="171259" y="143066"/>
                  </a:cubicBezTo>
                  <a:cubicBezTo>
                    <a:pt x="175546" y="150209"/>
                    <a:pt x="177736" y="158972"/>
                    <a:pt x="177736" y="169450"/>
                  </a:cubicBezTo>
                  <a:lnTo>
                    <a:pt x="177736" y="170307"/>
                  </a:lnTo>
                  <a:cubicBezTo>
                    <a:pt x="177736" y="181356"/>
                    <a:pt x="175546" y="191071"/>
                    <a:pt x="171259" y="199549"/>
                  </a:cubicBezTo>
                  <a:cubicBezTo>
                    <a:pt x="166973" y="208026"/>
                    <a:pt x="161163" y="215265"/>
                    <a:pt x="153828" y="221171"/>
                  </a:cubicBezTo>
                  <a:cubicBezTo>
                    <a:pt x="146589" y="227171"/>
                    <a:pt x="137922" y="231648"/>
                    <a:pt x="127921" y="234791"/>
                  </a:cubicBezTo>
                  <a:cubicBezTo>
                    <a:pt x="117919" y="237935"/>
                    <a:pt x="107156" y="239459"/>
                    <a:pt x="95535" y="239459"/>
                  </a:cubicBez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2" name="Freeform: Shape 54">
              <a:extLst>
                <a:ext uri="{FF2B5EF4-FFF2-40B4-BE49-F238E27FC236}">
                  <a16:creationId xmlns:a16="http://schemas.microsoft.com/office/drawing/2014/main" id="{1BB7D9E6-0205-16E8-FA79-69FE089140E2}"/>
                </a:ext>
              </a:extLst>
            </p:cNvPr>
            <p:cNvSpPr/>
            <p:nvPr/>
          </p:nvSpPr>
          <p:spPr>
            <a:xfrm>
              <a:off x="5250320" y="846952"/>
              <a:ext cx="1459036" cy="16186"/>
            </a:xfrm>
            <a:custGeom>
              <a:avLst/>
              <a:gdLst>
                <a:gd name="connsiteX0" fmla="*/ 0 w 5804058"/>
                <a:gd name="connsiteY0" fmla="*/ 0 h 64388"/>
                <a:gd name="connsiteX1" fmla="*/ 5804059 w 5804058"/>
                <a:gd name="connsiteY1" fmla="*/ 0 h 64388"/>
                <a:gd name="connsiteX2" fmla="*/ 5804059 w 5804058"/>
                <a:gd name="connsiteY2" fmla="*/ 64389 h 64388"/>
                <a:gd name="connsiteX3" fmla="*/ 0 w 5804058"/>
                <a:gd name="connsiteY3" fmla="*/ 64389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4058" h="64388">
                  <a:moveTo>
                    <a:pt x="0" y="0"/>
                  </a:moveTo>
                  <a:lnTo>
                    <a:pt x="5804059" y="0"/>
                  </a:lnTo>
                  <a:lnTo>
                    <a:pt x="5804059" y="64389"/>
                  </a:lnTo>
                  <a:lnTo>
                    <a:pt x="0" y="64389"/>
                  </a:lnTo>
                  <a:close/>
                </a:path>
              </a:pathLst>
            </a:custGeom>
            <a:solidFill>
              <a:srgbClr val="44505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3" name="Freeform: Shape 55">
              <a:extLst>
                <a:ext uri="{FF2B5EF4-FFF2-40B4-BE49-F238E27FC236}">
                  <a16:creationId xmlns:a16="http://schemas.microsoft.com/office/drawing/2014/main" id="{9C4060BA-DFED-B914-66CC-3A249C9D6F4E}"/>
                </a:ext>
              </a:extLst>
            </p:cNvPr>
            <p:cNvSpPr/>
            <p:nvPr/>
          </p:nvSpPr>
          <p:spPr>
            <a:xfrm>
              <a:off x="6902633" y="268821"/>
              <a:ext cx="273418" cy="601046"/>
            </a:xfrm>
            <a:custGeom>
              <a:avLst/>
              <a:gdLst>
                <a:gd name="connsiteX0" fmla="*/ 0 w 1087659"/>
                <a:gd name="connsiteY0" fmla="*/ 210979 h 2390965"/>
                <a:gd name="connsiteX1" fmla="*/ 125063 w 1087659"/>
                <a:gd name="connsiteY1" fmla="*/ 103442 h 2390965"/>
                <a:gd name="connsiteX2" fmla="*/ 250031 w 1087659"/>
                <a:gd name="connsiteY2" fmla="*/ 210979 h 2390965"/>
                <a:gd name="connsiteX3" fmla="*/ 250031 w 1087659"/>
                <a:gd name="connsiteY3" fmla="*/ 1922717 h 2390965"/>
                <a:gd name="connsiteX4" fmla="*/ 249841 w 1087659"/>
                <a:gd name="connsiteY4" fmla="*/ 1922717 h 2390965"/>
                <a:gd name="connsiteX5" fmla="*/ 249841 w 1087659"/>
                <a:gd name="connsiteY5" fmla="*/ 1925955 h 2390965"/>
                <a:gd name="connsiteX6" fmla="*/ 333756 w 1087659"/>
                <a:gd name="connsiteY6" fmla="*/ 2100263 h 2390965"/>
                <a:gd name="connsiteX7" fmla="*/ 335566 w 1087659"/>
                <a:gd name="connsiteY7" fmla="*/ 2101787 h 2390965"/>
                <a:gd name="connsiteX8" fmla="*/ 336042 w 1087659"/>
                <a:gd name="connsiteY8" fmla="*/ 2102168 h 2390965"/>
                <a:gd name="connsiteX9" fmla="*/ 543877 w 1087659"/>
                <a:gd name="connsiteY9" fmla="*/ 2175891 h 2390965"/>
                <a:gd name="connsiteX10" fmla="*/ 749998 w 1087659"/>
                <a:gd name="connsiteY10" fmla="*/ 2103692 h 2390965"/>
                <a:gd name="connsiteX11" fmla="*/ 751713 w 1087659"/>
                <a:gd name="connsiteY11" fmla="*/ 2102168 h 2390965"/>
                <a:gd name="connsiteX12" fmla="*/ 752189 w 1087659"/>
                <a:gd name="connsiteY12" fmla="*/ 2101787 h 2390965"/>
                <a:gd name="connsiteX13" fmla="*/ 837819 w 1087659"/>
                <a:gd name="connsiteY13" fmla="*/ 1922812 h 2390965"/>
                <a:gd name="connsiteX14" fmla="*/ 837819 w 1087659"/>
                <a:gd name="connsiteY14" fmla="*/ 107537 h 2390965"/>
                <a:gd name="connsiteX15" fmla="*/ 962787 w 1087659"/>
                <a:gd name="connsiteY15" fmla="*/ 0 h 2390965"/>
                <a:gd name="connsiteX16" fmla="*/ 1087660 w 1087659"/>
                <a:gd name="connsiteY16" fmla="*/ 107537 h 2390965"/>
                <a:gd name="connsiteX17" fmla="*/ 1087660 w 1087659"/>
                <a:gd name="connsiteY17" fmla="*/ 1922621 h 2390965"/>
                <a:gd name="connsiteX18" fmla="*/ 928307 w 1087659"/>
                <a:gd name="connsiteY18" fmla="*/ 2253234 h 2390965"/>
                <a:gd name="connsiteX19" fmla="*/ 928116 w 1087659"/>
                <a:gd name="connsiteY19" fmla="*/ 2253424 h 2390965"/>
                <a:gd name="connsiteX20" fmla="*/ 927830 w 1087659"/>
                <a:gd name="connsiteY20" fmla="*/ 2253710 h 2390965"/>
                <a:gd name="connsiteX21" fmla="*/ 927354 w 1087659"/>
                <a:gd name="connsiteY21" fmla="*/ 2254187 h 2390965"/>
                <a:gd name="connsiteX22" fmla="*/ 543783 w 1087659"/>
                <a:gd name="connsiteY22" fmla="*/ 2390966 h 2390965"/>
                <a:gd name="connsiteX23" fmla="*/ 159734 w 1087659"/>
                <a:gd name="connsiteY23" fmla="*/ 2253710 h 2390965"/>
                <a:gd name="connsiteX24" fmla="*/ 159734 w 1087659"/>
                <a:gd name="connsiteY24" fmla="*/ 2253424 h 2390965"/>
                <a:gd name="connsiteX25" fmla="*/ 159353 w 1087659"/>
                <a:gd name="connsiteY25" fmla="*/ 2253234 h 2390965"/>
                <a:gd name="connsiteX26" fmla="*/ 158877 w 1087659"/>
                <a:gd name="connsiteY26" fmla="*/ 2252948 h 2390965"/>
                <a:gd name="connsiteX27" fmla="*/ 0 w 1087659"/>
                <a:gd name="connsiteY27" fmla="*/ 1922621 h 2390965"/>
                <a:gd name="connsiteX28" fmla="*/ 0 w 1087659"/>
                <a:gd name="connsiteY28" fmla="*/ 1922621 h 2390965"/>
                <a:gd name="connsiteX29" fmla="*/ 0 w 1087659"/>
                <a:gd name="connsiteY29" fmla="*/ 210979 h 239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87659" h="2390965">
                  <a:moveTo>
                    <a:pt x="0" y="210979"/>
                  </a:moveTo>
                  <a:cubicBezTo>
                    <a:pt x="0" y="151638"/>
                    <a:pt x="56007" y="103442"/>
                    <a:pt x="125063" y="103442"/>
                  </a:cubicBezTo>
                  <a:cubicBezTo>
                    <a:pt x="194120" y="103442"/>
                    <a:pt x="250031" y="151638"/>
                    <a:pt x="250031" y="210979"/>
                  </a:cubicBezTo>
                  <a:lnTo>
                    <a:pt x="250031" y="1922717"/>
                  </a:lnTo>
                  <a:lnTo>
                    <a:pt x="249841" y="1922717"/>
                  </a:lnTo>
                  <a:lnTo>
                    <a:pt x="249841" y="1925955"/>
                  </a:lnTo>
                  <a:cubicBezTo>
                    <a:pt x="250793" y="1994059"/>
                    <a:pt x="282797" y="2055495"/>
                    <a:pt x="333756" y="2100263"/>
                  </a:cubicBezTo>
                  <a:lnTo>
                    <a:pt x="335566" y="2101787"/>
                  </a:lnTo>
                  <a:lnTo>
                    <a:pt x="336042" y="2102168"/>
                  </a:lnTo>
                  <a:cubicBezTo>
                    <a:pt x="388906" y="2147697"/>
                    <a:pt x="462343" y="2175891"/>
                    <a:pt x="543877" y="2175891"/>
                  </a:cubicBezTo>
                  <a:cubicBezTo>
                    <a:pt x="625411" y="2175891"/>
                    <a:pt x="697420" y="2148364"/>
                    <a:pt x="749998" y="2103692"/>
                  </a:cubicBezTo>
                  <a:lnTo>
                    <a:pt x="751713" y="2102168"/>
                  </a:lnTo>
                  <a:lnTo>
                    <a:pt x="752189" y="2101787"/>
                  </a:lnTo>
                  <a:cubicBezTo>
                    <a:pt x="805053" y="2056352"/>
                    <a:pt x="837819" y="1993011"/>
                    <a:pt x="837819" y="1922812"/>
                  </a:cubicBezTo>
                  <a:lnTo>
                    <a:pt x="837819" y="107537"/>
                  </a:lnTo>
                  <a:cubicBezTo>
                    <a:pt x="837819" y="48196"/>
                    <a:pt x="893731" y="0"/>
                    <a:pt x="962787" y="0"/>
                  </a:cubicBezTo>
                  <a:cubicBezTo>
                    <a:pt x="1031843" y="0"/>
                    <a:pt x="1087660" y="48196"/>
                    <a:pt x="1087660" y="107537"/>
                  </a:cubicBezTo>
                  <a:lnTo>
                    <a:pt x="1087660" y="1922621"/>
                  </a:lnTo>
                  <a:cubicBezTo>
                    <a:pt x="1087660" y="2051399"/>
                    <a:pt x="1026795" y="2168366"/>
                    <a:pt x="928307" y="2253234"/>
                  </a:cubicBezTo>
                  <a:lnTo>
                    <a:pt x="928116" y="2253424"/>
                  </a:lnTo>
                  <a:lnTo>
                    <a:pt x="927830" y="2253710"/>
                  </a:lnTo>
                  <a:lnTo>
                    <a:pt x="927354" y="2254187"/>
                  </a:lnTo>
                  <a:cubicBezTo>
                    <a:pt x="828770" y="2338673"/>
                    <a:pt x="693134" y="2390966"/>
                    <a:pt x="543783" y="2390966"/>
                  </a:cubicBezTo>
                  <a:cubicBezTo>
                    <a:pt x="394430" y="2390966"/>
                    <a:pt x="258413" y="2338483"/>
                    <a:pt x="159734" y="2253710"/>
                  </a:cubicBezTo>
                  <a:lnTo>
                    <a:pt x="159734" y="2253424"/>
                  </a:lnTo>
                  <a:cubicBezTo>
                    <a:pt x="159734" y="2253424"/>
                    <a:pt x="159353" y="2253234"/>
                    <a:pt x="159353" y="2253234"/>
                  </a:cubicBezTo>
                  <a:lnTo>
                    <a:pt x="158877" y="2252948"/>
                  </a:lnTo>
                  <a:cubicBezTo>
                    <a:pt x="60770" y="2167985"/>
                    <a:pt x="0" y="2051304"/>
                    <a:pt x="0" y="1922621"/>
                  </a:cubicBezTo>
                  <a:lnTo>
                    <a:pt x="0" y="1922621"/>
                  </a:lnTo>
                  <a:lnTo>
                    <a:pt x="0" y="210979"/>
                  </a:lnTo>
                  <a:close/>
                </a:path>
              </a:pathLst>
            </a:custGeom>
            <a:solidFill>
              <a:srgbClr val="8FC6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4" name="Freeform: Shape 56">
              <a:extLst>
                <a:ext uri="{FF2B5EF4-FFF2-40B4-BE49-F238E27FC236}">
                  <a16:creationId xmlns:a16="http://schemas.microsoft.com/office/drawing/2014/main" id="{F00091D7-1B18-416C-068F-573144BD7ABC}"/>
                </a:ext>
              </a:extLst>
            </p:cNvPr>
            <p:cNvSpPr/>
            <p:nvPr/>
          </p:nvSpPr>
          <p:spPr>
            <a:xfrm>
              <a:off x="7013590" y="213965"/>
              <a:ext cx="54018" cy="562280"/>
            </a:xfrm>
            <a:custGeom>
              <a:avLst/>
              <a:gdLst>
                <a:gd name="connsiteX0" fmla="*/ 0 w 214883"/>
                <a:gd name="connsiteY0" fmla="*/ 107537 h 2236755"/>
                <a:gd name="connsiteX1" fmla="*/ 107537 w 214883"/>
                <a:gd name="connsiteY1" fmla="*/ 0 h 2236755"/>
                <a:gd name="connsiteX2" fmla="*/ 214884 w 214883"/>
                <a:gd name="connsiteY2" fmla="*/ 107537 h 2236755"/>
                <a:gd name="connsiteX3" fmla="*/ 214884 w 214883"/>
                <a:gd name="connsiteY3" fmla="*/ 2129219 h 2236755"/>
                <a:gd name="connsiteX4" fmla="*/ 107537 w 214883"/>
                <a:gd name="connsiteY4" fmla="*/ 2236756 h 2236755"/>
                <a:gd name="connsiteX5" fmla="*/ 0 w 214883"/>
                <a:gd name="connsiteY5" fmla="*/ 2129219 h 2236755"/>
                <a:gd name="connsiteX6" fmla="*/ 0 w 214883"/>
                <a:gd name="connsiteY6" fmla="*/ 107537 h 223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883" h="2236755">
                  <a:moveTo>
                    <a:pt x="0" y="107537"/>
                  </a:moveTo>
                  <a:cubicBezTo>
                    <a:pt x="0" y="48197"/>
                    <a:pt x="48101" y="0"/>
                    <a:pt x="107537" y="0"/>
                  </a:cubicBezTo>
                  <a:cubicBezTo>
                    <a:pt x="166973" y="0"/>
                    <a:pt x="214884" y="48197"/>
                    <a:pt x="214884" y="107537"/>
                  </a:cubicBezTo>
                  <a:lnTo>
                    <a:pt x="214884" y="2129219"/>
                  </a:lnTo>
                  <a:cubicBezTo>
                    <a:pt x="214884" y="2188559"/>
                    <a:pt x="166782" y="2236756"/>
                    <a:pt x="107537" y="2236756"/>
                  </a:cubicBezTo>
                  <a:cubicBezTo>
                    <a:pt x="48291" y="2236756"/>
                    <a:pt x="0" y="2188559"/>
                    <a:pt x="0" y="2129219"/>
                  </a:cubicBezTo>
                  <a:lnTo>
                    <a:pt x="0" y="107537"/>
                  </a:lnTo>
                  <a:close/>
                </a:path>
              </a:pathLst>
            </a:custGeom>
            <a:solidFill>
              <a:srgbClr val="3698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  <p:sp>
          <p:nvSpPr>
            <p:cNvPr id="45" name="Freeform: Shape 57">
              <a:extLst>
                <a:ext uri="{FF2B5EF4-FFF2-40B4-BE49-F238E27FC236}">
                  <a16:creationId xmlns:a16="http://schemas.microsoft.com/office/drawing/2014/main" id="{42378226-96B5-04F1-637D-CCCFB7459B0E}"/>
                </a:ext>
              </a:extLst>
            </p:cNvPr>
            <p:cNvSpPr/>
            <p:nvPr/>
          </p:nvSpPr>
          <p:spPr>
            <a:xfrm>
              <a:off x="6795770" y="332991"/>
              <a:ext cx="485994" cy="649437"/>
            </a:xfrm>
            <a:custGeom>
              <a:avLst/>
              <a:gdLst>
                <a:gd name="connsiteX0" fmla="*/ 1933290 w 1933289"/>
                <a:gd name="connsiteY0" fmla="*/ 138017 h 2583465"/>
                <a:gd name="connsiteX1" fmla="*/ 1933290 w 1933289"/>
                <a:gd name="connsiteY1" fmla="*/ 1734122 h 2583465"/>
                <a:gd name="connsiteX2" fmla="*/ 1796606 w 1933289"/>
                <a:gd name="connsiteY2" fmla="*/ 2229136 h 2583465"/>
                <a:gd name="connsiteX3" fmla="*/ 977742 w 1933289"/>
                <a:gd name="connsiteY3" fmla="*/ 2583466 h 2583465"/>
                <a:gd name="connsiteX4" fmla="*/ 955357 w 1933289"/>
                <a:gd name="connsiteY4" fmla="*/ 2583466 h 2583465"/>
                <a:gd name="connsiteX5" fmla="*/ 136589 w 1933289"/>
                <a:gd name="connsiteY5" fmla="*/ 2229136 h 2583465"/>
                <a:gd name="connsiteX6" fmla="*/ 0 w 1933289"/>
                <a:gd name="connsiteY6" fmla="*/ 1734122 h 2583465"/>
                <a:gd name="connsiteX7" fmla="*/ 0 w 1933289"/>
                <a:gd name="connsiteY7" fmla="*/ 794194 h 2583465"/>
                <a:gd name="connsiteX8" fmla="*/ 137827 w 1933289"/>
                <a:gd name="connsiteY8" fmla="*/ 656273 h 2583465"/>
                <a:gd name="connsiteX9" fmla="*/ 275463 w 1933289"/>
                <a:gd name="connsiteY9" fmla="*/ 794194 h 2583465"/>
                <a:gd name="connsiteX10" fmla="*/ 275463 w 1933289"/>
                <a:gd name="connsiteY10" fmla="*/ 1734122 h 2583465"/>
                <a:gd name="connsiteX11" fmla="*/ 354235 w 1933289"/>
                <a:gd name="connsiteY11" fmla="*/ 2059686 h 2583465"/>
                <a:gd name="connsiteX12" fmla="*/ 958215 w 1933289"/>
                <a:gd name="connsiteY12" fmla="*/ 2307527 h 2583465"/>
                <a:gd name="connsiteX13" fmla="*/ 974789 w 1933289"/>
                <a:gd name="connsiteY13" fmla="*/ 2307527 h 2583465"/>
                <a:gd name="connsiteX14" fmla="*/ 1578959 w 1933289"/>
                <a:gd name="connsiteY14" fmla="*/ 2059686 h 2583465"/>
                <a:gd name="connsiteX15" fmla="*/ 1657636 w 1933289"/>
                <a:gd name="connsiteY15" fmla="*/ 1734122 h 2583465"/>
                <a:gd name="connsiteX16" fmla="*/ 1657636 w 1933289"/>
                <a:gd name="connsiteY16" fmla="*/ 138017 h 2583465"/>
                <a:gd name="connsiteX17" fmla="*/ 1795463 w 1933289"/>
                <a:gd name="connsiteY17" fmla="*/ 0 h 2583465"/>
                <a:gd name="connsiteX18" fmla="*/ 1933290 w 1933289"/>
                <a:gd name="connsiteY18" fmla="*/ 138017 h 258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3289" h="2583465">
                  <a:moveTo>
                    <a:pt x="1933290" y="138017"/>
                  </a:moveTo>
                  <a:lnTo>
                    <a:pt x="1933290" y="1734122"/>
                  </a:lnTo>
                  <a:cubicBezTo>
                    <a:pt x="1933290" y="1870996"/>
                    <a:pt x="1919002" y="2071211"/>
                    <a:pt x="1796606" y="2229136"/>
                  </a:cubicBezTo>
                  <a:cubicBezTo>
                    <a:pt x="1634395" y="2438305"/>
                    <a:pt x="1432084" y="2578703"/>
                    <a:pt x="977742" y="2583466"/>
                  </a:cubicBezTo>
                  <a:lnTo>
                    <a:pt x="955357" y="2583466"/>
                  </a:lnTo>
                  <a:cubicBezTo>
                    <a:pt x="501015" y="2578703"/>
                    <a:pt x="298704" y="2438400"/>
                    <a:pt x="136589" y="2229136"/>
                  </a:cubicBezTo>
                  <a:cubicBezTo>
                    <a:pt x="14192" y="2071211"/>
                    <a:pt x="0" y="1870996"/>
                    <a:pt x="0" y="1734122"/>
                  </a:cubicBezTo>
                  <a:lnTo>
                    <a:pt x="0" y="794194"/>
                  </a:lnTo>
                  <a:cubicBezTo>
                    <a:pt x="0" y="718185"/>
                    <a:pt x="61436" y="656273"/>
                    <a:pt x="137827" y="656273"/>
                  </a:cubicBezTo>
                  <a:cubicBezTo>
                    <a:pt x="214217" y="656273"/>
                    <a:pt x="275463" y="718185"/>
                    <a:pt x="275463" y="794194"/>
                  </a:cubicBezTo>
                  <a:lnTo>
                    <a:pt x="275463" y="1734122"/>
                  </a:lnTo>
                  <a:cubicBezTo>
                    <a:pt x="275463" y="1887188"/>
                    <a:pt x="300324" y="1990630"/>
                    <a:pt x="354235" y="2059686"/>
                  </a:cubicBezTo>
                  <a:cubicBezTo>
                    <a:pt x="476250" y="2217611"/>
                    <a:pt x="609791" y="2304479"/>
                    <a:pt x="958215" y="2307527"/>
                  </a:cubicBezTo>
                  <a:lnTo>
                    <a:pt x="974789" y="2307527"/>
                  </a:lnTo>
                  <a:cubicBezTo>
                    <a:pt x="1323499" y="2304479"/>
                    <a:pt x="1456563" y="2217611"/>
                    <a:pt x="1578959" y="2059686"/>
                  </a:cubicBezTo>
                  <a:cubicBezTo>
                    <a:pt x="1632490" y="1990630"/>
                    <a:pt x="1657636" y="1887093"/>
                    <a:pt x="1657636" y="1734122"/>
                  </a:cubicBezTo>
                  <a:lnTo>
                    <a:pt x="1657636" y="138017"/>
                  </a:lnTo>
                  <a:cubicBezTo>
                    <a:pt x="1657636" y="61531"/>
                    <a:pt x="1719453" y="0"/>
                    <a:pt x="1795463" y="0"/>
                  </a:cubicBezTo>
                  <a:cubicBezTo>
                    <a:pt x="1871472" y="0"/>
                    <a:pt x="1933290" y="61531"/>
                    <a:pt x="1933290" y="138017"/>
                  </a:cubicBezTo>
                </a:path>
              </a:pathLst>
            </a:custGeom>
            <a:solidFill>
              <a:srgbClr val="4930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noProof="0" dirty="0"/>
            </a:p>
          </p:txBody>
        </p:sp>
      </p:grpSp>
      <p:sp>
        <p:nvSpPr>
          <p:cNvPr id="46" name="Título 1">
            <a:extLst>
              <a:ext uri="{FF2B5EF4-FFF2-40B4-BE49-F238E27FC236}">
                <a16:creationId xmlns:a16="http://schemas.microsoft.com/office/drawing/2014/main" id="{8EC88613-64B5-1806-B40A-4FC0AF47BEBF}"/>
              </a:ext>
            </a:extLst>
          </p:cNvPr>
          <p:cNvSpPr txBox="1">
            <a:spLocks/>
          </p:cNvSpPr>
          <p:nvPr/>
        </p:nvSpPr>
        <p:spPr>
          <a:xfrm>
            <a:off x="2157359" y="238418"/>
            <a:ext cx="10058400" cy="63123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solidFill>
                  <a:srgbClr val="3299B1"/>
                </a:solidFill>
                <a:latin typeface="Agency FB" panose="020B0503020202020204" pitchFamily="34" charset="0"/>
              </a:rPr>
              <a:t>Considerações</a:t>
            </a:r>
          </a:p>
        </p:txBody>
      </p:sp>
      <p:sp>
        <p:nvSpPr>
          <p:cNvPr id="62" name="Google Shape;97;p15">
            <a:extLst>
              <a:ext uri="{FF2B5EF4-FFF2-40B4-BE49-F238E27FC236}">
                <a16:creationId xmlns:a16="http://schemas.microsoft.com/office/drawing/2014/main" id="{280F284B-5ED8-2506-F96B-F00AA30DCE94}"/>
              </a:ext>
            </a:extLst>
          </p:cNvPr>
          <p:cNvSpPr txBox="1">
            <a:spLocks/>
          </p:cNvSpPr>
          <p:nvPr/>
        </p:nvSpPr>
        <p:spPr>
          <a:xfrm>
            <a:off x="313055" y="1814741"/>
            <a:ext cx="11561084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Alta e admissão de paciente no mesmo leito: </a:t>
            </a:r>
            <a:r>
              <a:rPr lang="pt-BR" dirty="0"/>
              <a:t>considerar 1 paciente-dia</a:t>
            </a:r>
            <a:endParaRPr lang="pt-BR" b="1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endParaRPr lang="pt-BR" b="1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Mais de um CVC: </a:t>
            </a:r>
            <a:r>
              <a:rPr lang="pt-BR" dirty="0"/>
              <a:t>considerar somente 1 CVC-dia, independentemente do tempo de inserção</a:t>
            </a:r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r>
              <a:rPr lang="pt-BR" b="1" dirty="0"/>
              <a:t>PAI: </a:t>
            </a:r>
            <a:r>
              <a:rPr lang="pt-BR" dirty="0"/>
              <a:t>Não considerar como CVC-dia</a:t>
            </a:r>
            <a:endParaRPr lang="pt-BR" b="1" dirty="0"/>
          </a:p>
          <a:p>
            <a:pPr indent="-215265" algn="just">
              <a:spcBef>
                <a:spcPts val="0"/>
              </a:spcBef>
              <a:buClr>
                <a:schemeClr val="dk1"/>
              </a:buClr>
              <a:buSzPct val="100000"/>
            </a:pPr>
            <a:endParaRPr lang="pt-BR" dirty="0"/>
          </a:p>
          <a:p>
            <a:pPr indent="-215265" algn="just">
              <a:buClr>
                <a:schemeClr val="dk1"/>
              </a:buClr>
              <a:buSzPct val="100000"/>
            </a:pPr>
            <a:r>
              <a:rPr lang="pt-BR" b="1" dirty="0"/>
              <a:t>TQT em ar ambiente: </a:t>
            </a:r>
            <a:r>
              <a:rPr lang="pt-BR" dirty="0"/>
              <a:t>não contabilizar como </a:t>
            </a:r>
            <a:r>
              <a:rPr lang="pt-BR" dirty="0" err="1"/>
              <a:t>VM-dia</a:t>
            </a:r>
          </a:p>
          <a:p>
            <a:pPr indent="-215265" algn="just">
              <a:buClr>
                <a:schemeClr val="dk1"/>
              </a:buClr>
              <a:buSzPct val="100000"/>
            </a:pPr>
            <a:endParaRPr lang="pt-BR" b="1" dirty="0"/>
          </a:p>
          <a:p>
            <a:pPr indent="-215265" algn="just">
              <a:buClr>
                <a:schemeClr val="dk1"/>
              </a:buClr>
              <a:buSzPct val="100000"/>
            </a:pPr>
            <a:r>
              <a:rPr lang="pt-BR" b="1" dirty="0"/>
              <a:t>Nefrostomia, Duplo J e Cistostomia: </a:t>
            </a:r>
            <a:r>
              <a:rPr lang="pt-BR" dirty="0"/>
              <a:t>Não contabilizar como CVD-dia </a:t>
            </a:r>
            <a:endParaRPr lang="pt-BR" sz="1800" dirty="0"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1134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A25395DAD2818478FB24D5BA0BD8325" ma:contentTypeVersion="21" ma:contentTypeDescription="Crie um novo documento." ma:contentTypeScope="" ma:versionID="77a0d37213da7813333b2f6d6af18e22">
  <xsd:schema xmlns:xsd="http://www.w3.org/2001/XMLSchema" xmlns:xs="http://www.w3.org/2001/XMLSchema" xmlns:p="http://schemas.microsoft.com/office/2006/metadata/properties" xmlns:ns1="http://schemas.microsoft.com/sharepoint/v3" xmlns:ns2="7595665d-dcec-4a93-a94d-ada035ade8e0" xmlns:ns3="ba8db9e7-06ab-4fc3-8870-ae78930b596c" targetNamespace="http://schemas.microsoft.com/office/2006/metadata/properties" ma:root="true" ma:fieldsID="e17f5f95506a603a9ac0a417c5bd9c59" ns1:_="" ns2:_="" ns3:_="">
    <xsd:import namespace="http://schemas.microsoft.com/sharepoint/v3"/>
    <xsd:import namespace="7595665d-dcec-4a93-a94d-ada035ade8e0"/>
    <xsd:import namespace="ba8db9e7-06ab-4fc3-8870-ae78930b59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Ação de Interface do Usuário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95665d-dcec-4a93-a94d-ada035ade8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4" nillable="true" ma:taxonomy="true" ma:internalName="lcf76f155ced4ddcb4097134ff3c332f" ma:taxonomyFieldName="MediaServiceImageTags" ma:displayName="Marcações de imagem" ma:readOnly="false" ma:fieldId="{5cf76f15-5ced-4ddc-b409-7134ff3c332f}" ma:taxonomyMulti="true" ma:sspId="af7ba5c7-e7e8-46ad-a5c3-76d2e405b1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8db9e7-06ab-4fc3-8870-ae78930b596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16b67270-77c6-4e53-9086-b260307a8d5e}" ma:internalName="TaxCatchAll" ma:showField="CatchAllData" ma:web="ba8db9e7-06ab-4fc3-8870-ae78930b59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7595665d-dcec-4a93-a94d-ada035ade8e0">
      <Terms xmlns="http://schemas.microsoft.com/office/infopath/2007/PartnerControls"/>
    </lcf76f155ced4ddcb4097134ff3c332f>
    <_ip_UnifiedCompliancePolicyProperties xmlns="http://schemas.microsoft.com/sharepoint/v3" xsi:nil="true"/>
    <TaxCatchAll xmlns="ba8db9e7-06ab-4fc3-8870-ae78930b596c" xsi:nil="true"/>
  </documentManagement>
</p:properties>
</file>

<file path=customXml/itemProps1.xml><?xml version="1.0" encoding="utf-8"?>
<ds:datastoreItem xmlns:ds="http://schemas.openxmlformats.org/officeDocument/2006/customXml" ds:itemID="{8F10671D-0BE6-4262-99FE-A0A0CC2CB40D}">
  <ds:schemaRefs>
    <ds:schemaRef ds:uri="7595665d-dcec-4a93-a94d-ada035ade8e0"/>
    <ds:schemaRef ds:uri="ba8db9e7-06ab-4fc3-8870-ae78930b596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D644CAE-B33A-4BFB-AEB5-CD643D65B5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E857E1-12BF-47AC-9847-B8998F58A496}">
  <ds:schemaRefs>
    <ds:schemaRef ds:uri="http://www.w3.org/XML/1998/namespace"/>
    <ds:schemaRef ds:uri="7595665d-dcec-4a93-a94d-ada035ade8e0"/>
    <ds:schemaRef ds:uri="http://purl.org/dc/elements/1.1/"/>
    <ds:schemaRef ds:uri="http://schemas.microsoft.com/sharepoint/v3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ba8db9e7-06ab-4fc3-8870-ae78930b596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</TotalTime>
  <Words>1503</Words>
  <Application>Microsoft Office PowerPoint</Application>
  <PresentationFormat>Widescreen</PresentationFormat>
  <Paragraphs>700</Paragraphs>
  <Slides>50</Slides>
  <Notes>39</Notes>
  <HiddenSlides>2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50</vt:i4>
      </vt:variant>
    </vt:vector>
  </HeadingPairs>
  <TitlesOfParts>
    <vt:vector size="52" baseType="lpstr">
      <vt:lpstr>Tema do Office</vt:lpstr>
      <vt:lpstr>1_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aso 1 - NEONAT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aso 2 - NEONAT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aso 3 - NEONAT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ulia Silva</dc:creator>
  <cp:lastModifiedBy>Roberta Gonçalves Marques</cp:lastModifiedBy>
  <cp:revision>189</cp:revision>
  <dcterms:created xsi:type="dcterms:W3CDTF">2026-02-05T15:54:42Z</dcterms:created>
  <dcterms:modified xsi:type="dcterms:W3CDTF">2026-03-19T22:0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25395DAD2818478FB24D5BA0BD8325</vt:lpwstr>
  </property>
  <property fmtid="{D5CDD505-2E9C-101B-9397-08002B2CF9AE}" pid="3" name="MediaServiceImageTags">
    <vt:lpwstr/>
  </property>
</Properties>
</file>